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18"/>
  </p:notesMasterIdLst>
  <p:handoutMasterIdLst>
    <p:handoutMasterId r:id="rId19"/>
  </p:handoutMasterIdLst>
  <p:sldIdLst>
    <p:sldId id="256" r:id="rId5"/>
    <p:sldId id="257" r:id="rId6"/>
    <p:sldId id="260" r:id="rId7"/>
    <p:sldId id="12937" r:id="rId8"/>
    <p:sldId id="2147471495" r:id="rId9"/>
    <p:sldId id="2147470244" r:id="rId10"/>
    <p:sldId id="2147471504" r:id="rId11"/>
    <p:sldId id="2147471505" r:id="rId12"/>
    <p:sldId id="5377" r:id="rId13"/>
    <p:sldId id="2147471506" r:id="rId14"/>
    <p:sldId id="2147471499" r:id="rId15"/>
    <p:sldId id="5530" r:id="rId16"/>
    <p:sldId id="261" r:id="rId17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DA291C"/>
    <a:srgbClr val="959CA0"/>
    <a:srgbClr val="FE8A12"/>
    <a:srgbClr val="F4C65A"/>
    <a:srgbClr val="FFE2C4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DA38BA-ED0F-4389-96B6-0836646559AF}" v="3" dt="2023-11-06T11:19:29.7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324" autoAdjust="0"/>
  </p:normalViewPr>
  <p:slideViewPr>
    <p:cSldViewPr snapToGrid="0">
      <p:cViewPr varScale="1">
        <p:scale>
          <a:sx n="50" d="100"/>
          <a:sy n="50" d="100"/>
        </p:scale>
        <p:origin x="950" y="2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1/6/2023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1/6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714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650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615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69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2143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480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ark_Rounded _Rectangle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4C53D69-3883-4CD7-B4A3-0EDE640877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3B6DCC28-D5BD-4271-A1CD-A5269AA52C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7A170F-D80C-4397-A709-AB5152D2159A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2" name="Freeform 6">
            <a:extLst>
              <a:ext uri="{FF2B5EF4-FFF2-40B4-BE49-F238E27FC236}">
                <a16:creationId xmlns:a16="http://schemas.microsoft.com/office/drawing/2014/main" id="{A3614197-F405-1D49-46A3-D9220CE8F654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12607981-6248-CF75-BFC3-98931F3EC252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56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_Rounded _Rectangl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875" y="5900911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6F8EA9A-81B1-48B5-8794-9C24108572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BA1E3B59-56D9-49DB-A0C9-2DF07AC82E5E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43" name="Freeform 7">
            <a:extLst>
              <a:ext uri="{FF2B5EF4-FFF2-40B4-BE49-F238E27FC236}">
                <a16:creationId xmlns:a16="http://schemas.microsoft.com/office/drawing/2014/main" id="{CB1D6DC5-500F-4690-AD5C-93A625BA3724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AE1B4E0-B445-42BA-9CA9-4536768D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102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43DCC4E-402C-46AF-9555-0267C1C0A6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27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2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8542230-2118-4F35-8D4D-BA4512169B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6264" y="0"/>
            <a:ext cx="7805737" cy="6858000"/>
          </a:xfrm>
          <a:custGeom>
            <a:avLst/>
            <a:gdLst>
              <a:gd name="connsiteX0" fmla="*/ 6856413 w 7805737"/>
              <a:gd name="connsiteY0" fmla="*/ 0 h 6858000"/>
              <a:gd name="connsiteX1" fmla="*/ 7805737 w 7805737"/>
              <a:gd name="connsiteY1" fmla="*/ 0 h 6858000"/>
              <a:gd name="connsiteX2" fmla="*/ 7805737 w 7805737"/>
              <a:gd name="connsiteY2" fmla="*/ 4537076 h 6858000"/>
              <a:gd name="connsiteX3" fmla="*/ 5486401 w 7805737"/>
              <a:gd name="connsiteY3" fmla="*/ 6858000 h 6858000"/>
              <a:gd name="connsiteX4" fmla="*/ 0 w 78057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5737" h="6858000">
                <a:moveTo>
                  <a:pt x="6856413" y="0"/>
                </a:moveTo>
                <a:lnTo>
                  <a:pt x="7805737" y="0"/>
                </a:lnTo>
                <a:lnTo>
                  <a:pt x="7805737" y="4537076"/>
                </a:lnTo>
                <a:lnTo>
                  <a:pt x="5486401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9FAE025-4537-4CB0-B951-A9527F5A7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628649"/>
            <a:ext cx="4954366" cy="39433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15310EE-DE2A-631D-8F9B-A33D194F77B1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2E0DAD0-C637-47E1-AF24-F5F9D0643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14" name="Freeform 6">
            <a:extLst>
              <a:ext uri="{FF2B5EF4-FFF2-40B4-BE49-F238E27FC236}">
                <a16:creationId xmlns:a16="http://schemas.microsoft.com/office/drawing/2014/main" id="{21C70CAE-1C34-4EE5-8AA5-1F7E67E38438}"/>
              </a:ext>
            </a:extLst>
          </p:cNvPr>
          <p:cNvSpPr>
            <a:spLocks/>
          </p:cNvSpPr>
          <p:nvPr userDrawn="1"/>
        </p:nvSpPr>
        <p:spPr bwMode="auto">
          <a:xfrm>
            <a:off x="10922000" y="3706813"/>
            <a:ext cx="1270000" cy="2719388"/>
          </a:xfrm>
          <a:custGeom>
            <a:avLst/>
            <a:gdLst>
              <a:gd name="T0" fmla="*/ 160 w 480"/>
              <a:gd name="T1" fmla="*/ 319 h 1028"/>
              <a:gd name="T2" fmla="*/ 160 w 480"/>
              <a:gd name="T3" fmla="*/ 901 h 1028"/>
              <a:gd name="T4" fmla="*/ 160 w 480"/>
              <a:gd name="T5" fmla="*/ 901 h 1028"/>
              <a:gd name="T6" fmla="*/ 480 w 480"/>
              <a:gd name="T7" fmla="*/ 1020 h 1028"/>
              <a:gd name="T8" fmla="*/ 480 w 480"/>
              <a:gd name="T9" fmla="*/ 0 h 1028"/>
              <a:gd name="T10" fmla="*/ 160 w 480"/>
              <a:gd name="T11" fmla="*/ 319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0" h="1028">
                <a:moveTo>
                  <a:pt x="160" y="319"/>
                </a:moveTo>
                <a:cubicBezTo>
                  <a:pt x="0" y="479"/>
                  <a:pt x="0" y="741"/>
                  <a:pt x="160" y="901"/>
                </a:cubicBezTo>
                <a:cubicBezTo>
                  <a:pt x="160" y="901"/>
                  <a:pt x="160" y="901"/>
                  <a:pt x="160" y="901"/>
                </a:cubicBezTo>
                <a:cubicBezTo>
                  <a:pt x="248" y="988"/>
                  <a:pt x="365" y="1028"/>
                  <a:pt x="480" y="1020"/>
                </a:cubicBezTo>
                <a:cubicBezTo>
                  <a:pt x="480" y="0"/>
                  <a:pt x="480" y="0"/>
                  <a:pt x="480" y="0"/>
                </a:cubicBezTo>
                <a:lnTo>
                  <a:pt x="160" y="319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id="{CE943C94-8C69-41C1-9DEB-D49C80BA7E6B}"/>
              </a:ext>
            </a:extLst>
          </p:cNvPr>
          <p:cNvSpPr>
            <a:spLocks/>
          </p:cNvSpPr>
          <p:nvPr userDrawn="1"/>
        </p:nvSpPr>
        <p:spPr bwMode="auto">
          <a:xfrm>
            <a:off x="3498850" y="3409950"/>
            <a:ext cx="4984750" cy="3448050"/>
          </a:xfrm>
          <a:custGeom>
            <a:avLst/>
            <a:gdLst>
              <a:gd name="T0" fmla="*/ 1724 w 1884"/>
              <a:gd name="T1" fmla="*/ 160 h 1303"/>
              <a:gd name="T2" fmla="*/ 1143 w 1884"/>
              <a:gd name="T3" fmla="*/ 160 h 1303"/>
              <a:gd name="T4" fmla="*/ 0 w 1884"/>
              <a:gd name="T5" fmla="*/ 1303 h 1303"/>
              <a:gd name="T6" fmla="*/ 1164 w 1884"/>
              <a:gd name="T7" fmla="*/ 1303 h 1303"/>
              <a:gd name="T8" fmla="*/ 1724 w 1884"/>
              <a:gd name="T9" fmla="*/ 742 h 1303"/>
              <a:gd name="T10" fmla="*/ 1724 w 1884"/>
              <a:gd name="T11" fmla="*/ 160 h 1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84" h="1303">
                <a:moveTo>
                  <a:pt x="1724" y="160"/>
                </a:moveTo>
                <a:cubicBezTo>
                  <a:pt x="1564" y="0"/>
                  <a:pt x="1303" y="0"/>
                  <a:pt x="1143" y="160"/>
                </a:cubicBezTo>
                <a:cubicBezTo>
                  <a:pt x="0" y="1303"/>
                  <a:pt x="0" y="1303"/>
                  <a:pt x="0" y="1303"/>
                </a:cubicBezTo>
                <a:cubicBezTo>
                  <a:pt x="1164" y="1303"/>
                  <a:pt x="1164" y="1303"/>
                  <a:pt x="1164" y="1303"/>
                </a:cubicBezTo>
                <a:cubicBezTo>
                  <a:pt x="1724" y="742"/>
                  <a:pt x="1724" y="742"/>
                  <a:pt x="1724" y="742"/>
                </a:cubicBezTo>
                <a:cubicBezTo>
                  <a:pt x="1884" y="582"/>
                  <a:pt x="1884" y="320"/>
                  <a:pt x="1724" y="16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3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B5D9F59-0F20-4E72-95E0-5E2043A9CE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32023" y="3175"/>
            <a:ext cx="9959977" cy="6851650"/>
          </a:xfrm>
          <a:custGeom>
            <a:avLst/>
            <a:gdLst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8232777 w 9959977"/>
              <a:gd name="connsiteY41" fmla="*/ 1 h 6851650"/>
              <a:gd name="connsiteX42" fmla="*/ 9550402 w 9959977"/>
              <a:gd name="connsiteY42" fmla="*/ 1 h 6851650"/>
              <a:gd name="connsiteX43" fmla="*/ 7992006 w 9959977"/>
              <a:gd name="connsiteY43" fmla="*/ 1558397 h 6851650"/>
              <a:gd name="connsiteX44" fmla="*/ 7333194 w 9959977"/>
              <a:gd name="connsiteY44" fmla="*/ 1558397 h 6851650"/>
              <a:gd name="connsiteX45" fmla="*/ 7333194 w 9959977"/>
              <a:gd name="connsiteY45" fmla="*/ 899584 h 6851650"/>
              <a:gd name="connsiteX46" fmla="*/ 8232777 w 9959977"/>
              <a:gd name="connsiteY46" fmla="*/ 1 h 6851650"/>
              <a:gd name="connsiteX47" fmla="*/ 6848850 w 9959977"/>
              <a:gd name="connsiteY47" fmla="*/ 1 h 6851650"/>
              <a:gd name="connsiteX48" fmla="*/ 8166102 w 9959977"/>
              <a:gd name="connsiteY48" fmla="*/ 1 h 6851650"/>
              <a:gd name="connsiteX49" fmla="*/ 5267089 w 9959977"/>
              <a:gd name="connsiteY49" fmla="*/ 2898839 h 6851650"/>
              <a:gd name="connsiteX50" fmla="*/ 4608463 w 9959977"/>
              <a:gd name="connsiteY50" fmla="*/ 2898839 h 6851650"/>
              <a:gd name="connsiteX51" fmla="*/ 4608463 w 9959977"/>
              <a:gd name="connsiteY51" fmla="*/ 2240253 h 6851650"/>
              <a:gd name="connsiteX52" fmla="*/ 6848850 w 9959977"/>
              <a:gd name="connsiteY52" fmla="*/ 1 h 6851650"/>
              <a:gd name="connsiteX53" fmla="*/ 5466013 w 9959977"/>
              <a:gd name="connsiteY53" fmla="*/ 1 h 6851650"/>
              <a:gd name="connsiteX54" fmla="*/ 6783390 w 9959977"/>
              <a:gd name="connsiteY54" fmla="*/ 1 h 6851650"/>
              <a:gd name="connsiteX55" fmla="*/ 4807324 w 9959977"/>
              <a:gd name="connsiteY55" fmla="*/ 1975953 h 6851650"/>
              <a:gd name="connsiteX56" fmla="*/ 4148635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4807324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224330 h 6949226"/>
              <a:gd name="connsiteX1" fmla="*/ 4014328 w 9959977"/>
              <a:gd name="connsiteY1" fmla="*/ 6359452 h 6949226"/>
              <a:gd name="connsiteX2" fmla="*/ 4108019 w 9959977"/>
              <a:gd name="connsiteY2" fmla="*/ 6884865 h 6949226"/>
              <a:gd name="connsiteX3" fmla="*/ 4070889 w 9959977"/>
              <a:gd name="connsiteY3" fmla="*/ 6949226 h 6949226"/>
              <a:gd name="connsiteX4" fmla="*/ 2767005 w 9959977"/>
              <a:gd name="connsiteY4" fmla="*/ 6949226 h 6949226"/>
              <a:gd name="connsiteX5" fmla="*/ 2769964 w 9959977"/>
              <a:gd name="connsiteY5" fmla="*/ 6946263 h 6949226"/>
              <a:gd name="connsiteX6" fmla="*/ 3355758 w 9959977"/>
              <a:gd name="connsiteY6" fmla="*/ 6359452 h 6949226"/>
              <a:gd name="connsiteX7" fmla="*/ 3684051 w 9959977"/>
              <a:gd name="connsiteY7" fmla="*/ 6224330 h 6949226"/>
              <a:gd name="connsiteX8" fmla="*/ 7314695 w 9959977"/>
              <a:gd name="connsiteY8" fmla="*/ 3976368 h 6949226"/>
              <a:gd name="connsiteX9" fmla="*/ 7644951 w 9959977"/>
              <a:gd name="connsiteY9" fmla="*/ 4111306 h 6949226"/>
              <a:gd name="connsiteX10" fmla="*/ 7644951 w 9959977"/>
              <a:gd name="connsiteY10" fmla="*/ 4770119 h 6949226"/>
              <a:gd name="connsiteX11" fmla="*/ 5658899 w 9959977"/>
              <a:gd name="connsiteY11" fmla="*/ 6757027 h 6949226"/>
              <a:gd name="connsiteX12" fmla="*/ 5466782 w 9959977"/>
              <a:gd name="connsiteY12" fmla="*/ 6949226 h 6949226"/>
              <a:gd name="connsiteX13" fmla="*/ 4149726 w 9959977"/>
              <a:gd name="connsiteY13" fmla="*/ 6949226 h 6949226"/>
              <a:gd name="connsiteX14" fmla="*/ 4162118 w 9959977"/>
              <a:gd name="connsiteY14" fmla="*/ 6936828 h 6949226"/>
              <a:gd name="connsiteX15" fmla="*/ 6986422 w 9959977"/>
              <a:gd name="connsiteY15" fmla="*/ 4111306 h 6949226"/>
              <a:gd name="connsiteX16" fmla="*/ 7314695 w 9959977"/>
              <a:gd name="connsiteY16" fmla="*/ 3976368 h 6949226"/>
              <a:gd name="connsiteX17" fmla="*/ 4241584 w 9959977"/>
              <a:gd name="connsiteY17" fmla="*/ 2901637 h 6949226"/>
              <a:gd name="connsiteX18" fmla="*/ 4569926 w 9959977"/>
              <a:gd name="connsiteY18" fmla="*/ 3036592 h 6949226"/>
              <a:gd name="connsiteX19" fmla="*/ 4569926 w 9959977"/>
              <a:gd name="connsiteY19" fmla="*/ 3695489 h 6949226"/>
              <a:gd name="connsiteX20" fmla="*/ 1607062 w 9959977"/>
              <a:gd name="connsiteY20" fmla="*/ 6659395 h 6949226"/>
              <a:gd name="connsiteX21" fmla="*/ 1317332 w 9959977"/>
              <a:gd name="connsiteY21" fmla="*/ 6949226 h 6949226"/>
              <a:gd name="connsiteX22" fmla="*/ 0 w 9959977"/>
              <a:gd name="connsiteY22" fmla="*/ 6949226 h 6949226"/>
              <a:gd name="connsiteX23" fmla="*/ 1304 w 9959977"/>
              <a:gd name="connsiteY23" fmla="*/ 6947922 h 6949226"/>
              <a:gd name="connsiteX24" fmla="*/ 3911259 w 9959977"/>
              <a:gd name="connsiteY24" fmla="*/ 3036592 h 6949226"/>
              <a:gd name="connsiteX25" fmla="*/ 4241584 w 9959977"/>
              <a:gd name="connsiteY25" fmla="*/ 2901637 h 6949226"/>
              <a:gd name="connsiteX26" fmla="*/ 6963726 w 9959977"/>
              <a:gd name="connsiteY26" fmla="*/ 1560198 h 6949226"/>
              <a:gd name="connsiteX27" fmla="*/ 7294067 w 9959977"/>
              <a:gd name="connsiteY27" fmla="*/ 1695149 h 6949226"/>
              <a:gd name="connsiteX28" fmla="*/ 7294067 w 9959977"/>
              <a:gd name="connsiteY28" fmla="*/ 2354025 h 6949226"/>
              <a:gd name="connsiteX29" fmla="*/ 3111703 w 9959977"/>
              <a:gd name="connsiteY29" fmla="*/ 6537522 h 6949226"/>
              <a:gd name="connsiteX30" fmla="*/ 2700111 w 9959977"/>
              <a:gd name="connsiteY30" fmla="*/ 6949226 h 6949226"/>
              <a:gd name="connsiteX31" fmla="*/ 1382715 w 9959977"/>
              <a:gd name="connsiteY31" fmla="*/ 6949226 h 6949226"/>
              <a:gd name="connsiteX32" fmla="*/ 1386637 w 9959977"/>
              <a:gd name="connsiteY32" fmla="*/ 6945303 h 6949226"/>
              <a:gd name="connsiteX33" fmla="*/ 6635369 w 9959977"/>
              <a:gd name="connsiteY33" fmla="*/ 1695149 h 6949226"/>
              <a:gd name="connsiteX34" fmla="*/ 6963726 w 9959977"/>
              <a:gd name="connsiteY34" fmla="*/ 1560198 h 6949226"/>
              <a:gd name="connsiteX35" fmla="*/ 9959977 w 9959977"/>
              <a:gd name="connsiteY35" fmla="*/ 1137390 h 6949226"/>
              <a:gd name="connsiteX36" fmla="*/ 9959977 w 9959977"/>
              <a:gd name="connsiteY36" fmla="*/ 2455015 h 6949226"/>
              <a:gd name="connsiteX37" fmla="*/ 9956795 w 9959977"/>
              <a:gd name="connsiteY37" fmla="*/ 2458197 h 6949226"/>
              <a:gd name="connsiteX38" fmla="*/ 8330144 w 9959977"/>
              <a:gd name="connsiteY38" fmla="*/ 4084847 h 6949226"/>
              <a:gd name="connsiteX39" fmla="*/ 7671332 w 9959977"/>
              <a:gd name="connsiteY39" fmla="*/ 4084847 h 6949226"/>
              <a:gd name="connsiteX40" fmla="*/ 7671332 w 9959977"/>
              <a:gd name="connsiteY40" fmla="*/ 3426035 h 6949226"/>
              <a:gd name="connsiteX41" fmla="*/ 9959977 w 9959977"/>
              <a:gd name="connsiteY41" fmla="*/ 1137390 h 6949226"/>
              <a:gd name="connsiteX42" fmla="*/ 8232777 w 9959977"/>
              <a:gd name="connsiteY42" fmla="*/ 97577 h 6949226"/>
              <a:gd name="connsiteX43" fmla="*/ 9550402 w 9959977"/>
              <a:gd name="connsiteY43" fmla="*/ 97577 h 6949226"/>
              <a:gd name="connsiteX44" fmla="*/ 7992006 w 9959977"/>
              <a:gd name="connsiteY44" fmla="*/ 1655973 h 6949226"/>
              <a:gd name="connsiteX45" fmla="*/ 7333194 w 9959977"/>
              <a:gd name="connsiteY45" fmla="*/ 1655973 h 6949226"/>
              <a:gd name="connsiteX46" fmla="*/ 7333194 w 9959977"/>
              <a:gd name="connsiteY46" fmla="*/ 997160 h 6949226"/>
              <a:gd name="connsiteX47" fmla="*/ 8232777 w 9959977"/>
              <a:gd name="connsiteY47" fmla="*/ 97577 h 6949226"/>
              <a:gd name="connsiteX48" fmla="*/ 6848850 w 9959977"/>
              <a:gd name="connsiteY48" fmla="*/ 97577 h 6949226"/>
              <a:gd name="connsiteX49" fmla="*/ 8166102 w 9959977"/>
              <a:gd name="connsiteY49" fmla="*/ 97577 h 6949226"/>
              <a:gd name="connsiteX50" fmla="*/ 5267089 w 9959977"/>
              <a:gd name="connsiteY50" fmla="*/ 2996415 h 6949226"/>
              <a:gd name="connsiteX51" fmla="*/ 4608463 w 9959977"/>
              <a:gd name="connsiteY51" fmla="*/ 2996415 h 6949226"/>
              <a:gd name="connsiteX52" fmla="*/ 4608463 w 9959977"/>
              <a:gd name="connsiteY52" fmla="*/ 2337829 h 6949226"/>
              <a:gd name="connsiteX53" fmla="*/ 6848850 w 9959977"/>
              <a:gd name="connsiteY53" fmla="*/ 97577 h 6949226"/>
              <a:gd name="connsiteX54" fmla="*/ 5466013 w 9959977"/>
              <a:gd name="connsiteY54" fmla="*/ 97577 h 6949226"/>
              <a:gd name="connsiteX55" fmla="*/ 6783390 w 9959977"/>
              <a:gd name="connsiteY55" fmla="*/ 97577 h 6949226"/>
              <a:gd name="connsiteX56" fmla="*/ 4148635 w 9959977"/>
              <a:gd name="connsiteY56" fmla="*/ 1414878 h 6949226"/>
              <a:gd name="connsiteX57" fmla="*/ 5466013 w 9959977"/>
              <a:gd name="connsiteY57" fmla="*/ 97577 h 6949226"/>
              <a:gd name="connsiteX58" fmla="*/ 9616109 w 9959977"/>
              <a:gd name="connsiteY58" fmla="*/ 97576 h 6949226"/>
              <a:gd name="connsiteX59" fmla="*/ 9846474 w 9959977"/>
              <a:gd name="connsiteY59" fmla="*/ 97576 h 6949226"/>
              <a:gd name="connsiteX60" fmla="*/ 9959977 w 9959977"/>
              <a:gd name="connsiteY60" fmla="*/ 97576 h 6949226"/>
              <a:gd name="connsiteX61" fmla="*/ 9959977 w 9959977"/>
              <a:gd name="connsiteY61" fmla="*/ 1071164 h 6949226"/>
              <a:gd name="connsiteX62" fmla="*/ 9958695 w 9959977"/>
              <a:gd name="connsiteY62" fmla="*/ 1072447 h 6949226"/>
              <a:gd name="connsiteX63" fmla="*/ 4704076 w 9959977"/>
              <a:gd name="connsiteY63" fmla="*/ 6327999 h 6949226"/>
              <a:gd name="connsiteX64" fmla="*/ 4045435 w 9959977"/>
              <a:gd name="connsiteY64" fmla="*/ 6327999 h 6949226"/>
              <a:gd name="connsiteX65" fmla="*/ 4045435 w 9959977"/>
              <a:gd name="connsiteY65" fmla="*/ 5669241 h 6949226"/>
              <a:gd name="connsiteX66" fmla="*/ 9616109 w 9959977"/>
              <a:gd name="connsiteY66" fmla="*/ 97576 h 6949226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5466013 w 9959977"/>
              <a:gd name="connsiteY56" fmla="*/ 1 h 6851650"/>
              <a:gd name="connsiteX57" fmla="*/ 9616109 w 9959977"/>
              <a:gd name="connsiteY57" fmla="*/ 0 h 6851650"/>
              <a:gd name="connsiteX58" fmla="*/ 9846474 w 9959977"/>
              <a:gd name="connsiteY58" fmla="*/ 0 h 6851650"/>
              <a:gd name="connsiteX59" fmla="*/ 9959977 w 9959977"/>
              <a:gd name="connsiteY59" fmla="*/ 0 h 6851650"/>
              <a:gd name="connsiteX60" fmla="*/ 9959977 w 9959977"/>
              <a:gd name="connsiteY60" fmla="*/ 973588 h 6851650"/>
              <a:gd name="connsiteX61" fmla="*/ 9958695 w 9959977"/>
              <a:gd name="connsiteY61" fmla="*/ 974871 h 6851650"/>
              <a:gd name="connsiteX62" fmla="*/ 4704076 w 9959977"/>
              <a:gd name="connsiteY62" fmla="*/ 6230423 h 6851650"/>
              <a:gd name="connsiteX63" fmla="*/ 4045435 w 9959977"/>
              <a:gd name="connsiteY63" fmla="*/ 6230423 h 6851650"/>
              <a:gd name="connsiteX64" fmla="*/ 4045435 w 9959977"/>
              <a:gd name="connsiteY64" fmla="*/ 5571665 h 6851650"/>
              <a:gd name="connsiteX65" fmla="*/ 9616109 w 9959977"/>
              <a:gd name="connsiteY65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9616109 w 9959977"/>
              <a:gd name="connsiteY54" fmla="*/ 0 h 6851650"/>
              <a:gd name="connsiteX55" fmla="*/ 9846474 w 9959977"/>
              <a:gd name="connsiteY55" fmla="*/ 0 h 6851650"/>
              <a:gd name="connsiteX56" fmla="*/ 9959977 w 9959977"/>
              <a:gd name="connsiteY56" fmla="*/ 0 h 6851650"/>
              <a:gd name="connsiteX57" fmla="*/ 9959977 w 9959977"/>
              <a:gd name="connsiteY57" fmla="*/ 973588 h 6851650"/>
              <a:gd name="connsiteX58" fmla="*/ 9958695 w 9959977"/>
              <a:gd name="connsiteY58" fmla="*/ 974871 h 6851650"/>
              <a:gd name="connsiteX59" fmla="*/ 4704076 w 9959977"/>
              <a:gd name="connsiteY59" fmla="*/ 6230423 h 6851650"/>
              <a:gd name="connsiteX60" fmla="*/ 4045435 w 9959977"/>
              <a:gd name="connsiteY60" fmla="*/ 6230423 h 6851650"/>
              <a:gd name="connsiteX61" fmla="*/ 4045435 w 9959977"/>
              <a:gd name="connsiteY61" fmla="*/ 5571665 h 6851650"/>
              <a:gd name="connsiteX62" fmla="*/ 9616109 w 9959977"/>
              <a:gd name="connsiteY62" fmla="*/ 0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959977" h="6851650">
                <a:moveTo>
                  <a:pt x="3684051" y="6126754"/>
                </a:moveTo>
                <a:cubicBezTo>
                  <a:pt x="3803400" y="6126754"/>
                  <a:pt x="3923080" y="6171795"/>
                  <a:pt x="4014328" y="6261876"/>
                </a:cubicBezTo>
                <a:cubicBezTo>
                  <a:pt x="4155497" y="6403290"/>
                  <a:pt x="4187318" y="6615701"/>
                  <a:pt x="4108019" y="6787289"/>
                </a:cubicBezTo>
                <a:lnTo>
                  <a:pt x="4070889" y="6851650"/>
                </a:lnTo>
                <a:lnTo>
                  <a:pt x="2767005" y="6851650"/>
                </a:lnTo>
                <a:lnTo>
                  <a:pt x="2769964" y="6848687"/>
                </a:lnTo>
                <a:lnTo>
                  <a:pt x="3355758" y="6261876"/>
                </a:lnTo>
                <a:cubicBezTo>
                  <a:pt x="3445683" y="6171795"/>
                  <a:pt x="3564702" y="6126754"/>
                  <a:pt x="3684051" y="6126754"/>
                </a:cubicBezTo>
                <a:close/>
                <a:moveTo>
                  <a:pt x="7314695" y="3878792"/>
                </a:moveTo>
                <a:cubicBezTo>
                  <a:pt x="7434037" y="3878792"/>
                  <a:pt x="7553709" y="3923771"/>
                  <a:pt x="7644951" y="4013730"/>
                </a:cubicBezTo>
                <a:cubicBezTo>
                  <a:pt x="7824790" y="4196292"/>
                  <a:pt x="7824790" y="4492626"/>
                  <a:pt x="7644951" y="4672543"/>
                </a:cubicBezTo>
                <a:lnTo>
                  <a:pt x="5658899" y="6659451"/>
                </a:lnTo>
                <a:lnTo>
                  <a:pt x="5466782" y="6851650"/>
                </a:lnTo>
                <a:lnTo>
                  <a:pt x="4149726" y="6851650"/>
                </a:lnTo>
                <a:lnTo>
                  <a:pt x="4162118" y="6839252"/>
                </a:lnTo>
                <a:lnTo>
                  <a:pt x="6986422" y="4013730"/>
                </a:lnTo>
                <a:cubicBezTo>
                  <a:pt x="7076342" y="3923771"/>
                  <a:pt x="7195353" y="3878792"/>
                  <a:pt x="7314695" y="3878792"/>
                </a:cubicBezTo>
                <a:close/>
                <a:moveTo>
                  <a:pt x="4241584" y="2804061"/>
                </a:moveTo>
                <a:cubicBezTo>
                  <a:pt x="4360951" y="2804061"/>
                  <a:pt x="4479987" y="2849046"/>
                  <a:pt x="4569926" y="2939016"/>
                </a:cubicBezTo>
                <a:cubicBezTo>
                  <a:pt x="4749802" y="3121602"/>
                  <a:pt x="4749802" y="3417973"/>
                  <a:pt x="4569926" y="3597913"/>
                </a:cubicBezTo>
                <a:lnTo>
                  <a:pt x="1607062" y="6561819"/>
                </a:lnTo>
                <a:lnTo>
                  <a:pt x="1317332" y="6851650"/>
                </a:lnTo>
                <a:lnTo>
                  <a:pt x="0" y="6851650"/>
                </a:lnTo>
                <a:lnTo>
                  <a:pt x="1304" y="6850346"/>
                </a:lnTo>
                <a:lnTo>
                  <a:pt x="3911259" y="2939016"/>
                </a:lnTo>
                <a:cubicBezTo>
                  <a:pt x="4002521" y="2849046"/>
                  <a:pt x="4122218" y="2804061"/>
                  <a:pt x="4241584" y="2804061"/>
                </a:cubicBezTo>
                <a:close/>
                <a:moveTo>
                  <a:pt x="6963726" y="1462622"/>
                </a:moveTo>
                <a:cubicBezTo>
                  <a:pt x="7083099" y="1462622"/>
                  <a:pt x="7202802" y="1507606"/>
                  <a:pt x="7294067" y="1597573"/>
                </a:cubicBezTo>
                <a:cubicBezTo>
                  <a:pt x="7473953" y="1780153"/>
                  <a:pt x="7473953" y="2076515"/>
                  <a:pt x="7294067" y="2256449"/>
                </a:cubicBezTo>
                <a:lnTo>
                  <a:pt x="3111703" y="6439946"/>
                </a:lnTo>
                <a:lnTo>
                  <a:pt x="2700111" y="6851650"/>
                </a:lnTo>
                <a:lnTo>
                  <a:pt x="1382715" y="6851650"/>
                </a:lnTo>
                <a:lnTo>
                  <a:pt x="1386637" y="6847727"/>
                </a:lnTo>
                <a:lnTo>
                  <a:pt x="6635369" y="1597573"/>
                </a:lnTo>
                <a:cubicBezTo>
                  <a:pt x="6725312" y="1507606"/>
                  <a:pt x="6844354" y="1462622"/>
                  <a:pt x="6963726" y="1462622"/>
                </a:cubicBezTo>
                <a:close/>
                <a:moveTo>
                  <a:pt x="9959977" y="1039814"/>
                </a:moveTo>
                <a:lnTo>
                  <a:pt x="9959977" y="2357439"/>
                </a:lnTo>
                <a:lnTo>
                  <a:pt x="9956795" y="2360621"/>
                </a:lnTo>
                <a:lnTo>
                  <a:pt x="8330144" y="3987271"/>
                </a:lnTo>
                <a:cubicBezTo>
                  <a:pt x="8150228" y="4167188"/>
                  <a:pt x="7851248" y="4167188"/>
                  <a:pt x="7671332" y="3987271"/>
                </a:cubicBezTo>
                <a:cubicBezTo>
                  <a:pt x="7491415" y="3807355"/>
                  <a:pt x="7491415" y="3511021"/>
                  <a:pt x="7671332" y="3328459"/>
                </a:cubicBezTo>
                <a:lnTo>
                  <a:pt x="9959977" y="1039814"/>
                </a:lnTo>
                <a:close/>
                <a:moveTo>
                  <a:pt x="8232777" y="1"/>
                </a:moveTo>
                <a:lnTo>
                  <a:pt x="9550402" y="1"/>
                </a:lnTo>
                <a:lnTo>
                  <a:pt x="7992006" y="1558397"/>
                </a:lnTo>
                <a:cubicBezTo>
                  <a:pt x="7812089" y="1738314"/>
                  <a:pt x="7513110" y="1738314"/>
                  <a:pt x="7333194" y="1558397"/>
                </a:cubicBezTo>
                <a:cubicBezTo>
                  <a:pt x="7153277" y="1378480"/>
                  <a:pt x="7153277" y="1082147"/>
                  <a:pt x="7333194" y="899584"/>
                </a:cubicBezTo>
                <a:lnTo>
                  <a:pt x="8232777" y="1"/>
                </a:lnTo>
                <a:close/>
                <a:moveTo>
                  <a:pt x="6848850" y="1"/>
                </a:moveTo>
                <a:lnTo>
                  <a:pt x="8166102" y="1"/>
                </a:lnTo>
                <a:lnTo>
                  <a:pt x="5267089" y="2898839"/>
                </a:lnTo>
                <a:cubicBezTo>
                  <a:pt x="5084578" y="3081339"/>
                  <a:pt x="4788329" y="3081339"/>
                  <a:pt x="4608463" y="2898839"/>
                </a:cubicBezTo>
                <a:cubicBezTo>
                  <a:pt x="4425952" y="2718983"/>
                  <a:pt x="4425952" y="2422752"/>
                  <a:pt x="4608463" y="2240253"/>
                </a:cubicBezTo>
                <a:lnTo>
                  <a:pt x="6848850" y="1"/>
                </a:lnTo>
                <a:close/>
                <a:moveTo>
                  <a:pt x="9616109" y="0"/>
                </a:moveTo>
                <a:lnTo>
                  <a:pt x="9846474" y="0"/>
                </a:lnTo>
                <a:lnTo>
                  <a:pt x="9959977" y="0"/>
                </a:lnTo>
                <a:lnTo>
                  <a:pt x="9959977" y="973588"/>
                </a:lnTo>
                <a:lnTo>
                  <a:pt x="9958695" y="974871"/>
                </a:lnTo>
                <a:lnTo>
                  <a:pt x="4704076" y="6230423"/>
                </a:lnTo>
                <a:cubicBezTo>
                  <a:pt x="4524206" y="6410325"/>
                  <a:pt x="4227950" y="6410325"/>
                  <a:pt x="4045435" y="6230423"/>
                </a:cubicBezTo>
                <a:cubicBezTo>
                  <a:pt x="3865565" y="6047876"/>
                  <a:pt x="3865565" y="5751567"/>
                  <a:pt x="4045435" y="5571665"/>
                </a:cubicBezTo>
                <a:lnTo>
                  <a:pt x="9616109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6175" y="5762798"/>
            <a:ext cx="2247900" cy="4064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D1012A8-A101-43B4-8E0C-3EA5BF2FF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7" y="628649"/>
            <a:ext cx="4954367" cy="396716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A1145C-6DFB-CE0C-121D-56EE9F47F2FF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5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Light_Pill_Transition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171F091-2361-4553-AFAD-4034FA5851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24189" y="0"/>
            <a:ext cx="9164637" cy="6858000"/>
          </a:xfrm>
          <a:custGeom>
            <a:avLst/>
            <a:gdLst>
              <a:gd name="connsiteX0" fmla="*/ 6317672 w 9164637"/>
              <a:gd name="connsiteY0" fmla="*/ 5860023 h 6858000"/>
              <a:gd name="connsiteX1" fmla="*/ 6760367 w 9164637"/>
              <a:gd name="connsiteY1" fmla="*/ 6042677 h 6858000"/>
              <a:gd name="connsiteX2" fmla="*/ 6879139 w 9164637"/>
              <a:gd name="connsiteY2" fmla="*/ 6761298 h 6858000"/>
              <a:gd name="connsiteX3" fmla="*/ 6821155 w 9164637"/>
              <a:gd name="connsiteY3" fmla="*/ 6858000 h 6858000"/>
              <a:gd name="connsiteX4" fmla="*/ 5060951 w 9164637"/>
              <a:gd name="connsiteY4" fmla="*/ 6858000 h 6858000"/>
              <a:gd name="connsiteX5" fmla="*/ 5062540 w 9164637"/>
              <a:gd name="connsiteY5" fmla="*/ 6856409 h 6858000"/>
              <a:gd name="connsiteX6" fmla="*/ 5874978 w 9164637"/>
              <a:gd name="connsiteY6" fmla="*/ 6042677 h 6858000"/>
              <a:gd name="connsiteX7" fmla="*/ 6317672 w 9164637"/>
              <a:gd name="connsiteY7" fmla="*/ 5860023 h 6858000"/>
              <a:gd name="connsiteX8" fmla="*/ 9164637 w 9164637"/>
              <a:gd name="connsiteY8" fmla="*/ 2754314 h 6858000"/>
              <a:gd name="connsiteX9" fmla="*/ 9164637 w 9164637"/>
              <a:gd name="connsiteY9" fmla="*/ 4521730 h 6858000"/>
              <a:gd name="connsiteX10" fmla="*/ 7670947 w 9164637"/>
              <a:gd name="connsiteY10" fmla="*/ 6016626 h 6858000"/>
              <a:gd name="connsiteX11" fmla="*/ 6785307 w 9164637"/>
              <a:gd name="connsiteY11" fmla="*/ 6016626 h 6858000"/>
              <a:gd name="connsiteX12" fmla="*/ 6785307 w 9164637"/>
              <a:gd name="connsiteY12" fmla="*/ 5130271 h 6858000"/>
              <a:gd name="connsiteX13" fmla="*/ 9127625 w 9164637"/>
              <a:gd name="connsiteY13" fmla="*/ 2786063 h 6858000"/>
              <a:gd name="connsiteX14" fmla="*/ 9164637 w 9164637"/>
              <a:gd name="connsiteY14" fmla="*/ 2754314 h 6858000"/>
              <a:gd name="connsiteX15" fmla="*/ 6292160 w 9164637"/>
              <a:gd name="connsiteY15" fmla="*/ 823516 h 6858000"/>
              <a:gd name="connsiteX16" fmla="*/ 6735270 w 9164637"/>
              <a:gd name="connsiteY16" fmla="*/ 1008063 h 6858000"/>
              <a:gd name="connsiteX17" fmla="*/ 6735270 w 9164637"/>
              <a:gd name="connsiteY17" fmla="*/ 1894417 h 6858000"/>
              <a:gd name="connsiteX18" fmla="*/ 1772439 w 9164637"/>
              <a:gd name="connsiteY18" fmla="*/ 6858000 h 6858000"/>
              <a:gd name="connsiteX19" fmla="*/ 1768978 w 9164637"/>
              <a:gd name="connsiteY19" fmla="*/ 6858000 h 6858000"/>
              <a:gd name="connsiteX20" fmla="*/ 1760756 w 9164637"/>
              <a:gd name="connsiteY20" fmla="*/ 6858000 h 6858000"/>
              <a:gd name="connsiteX21" fmla="*/ 1744745 w 9164637"/>
              <a:gd name="connsiteY21" fmla="*/ 6858000 h 6858000"/>
              <a:gd name="connsiteX22" fmla="*/ 1718349 w 9164637"/>
              <a:gd name="connsiteY22" fmla="*/ 6858000 h 6858000"/>
              <a:gd name="connsiteX23" fmla="*/ 1678971 w 9164637"/>
              <a:gd name="connsiteY23" fmla="*/ 6858000 h 6858000"/>
              <a:gd name="connsiteX24" fmla="*/ 1624015 w 9164637"/>
              <a:gd name="connsiteY24" fmla="*/ 6858000 h 6858000"/>
              <a:gd name="connsiteX25" fmla="*/ 1550885 w 9164637"/>
              <a:gd name="connsiteY25" fmla="*/ 6858000 h 6858000"/>
              <a:gd name="connsiteX26" fmla="*/ 1456983 w 9164637"/>
              <a:gd name="connsiteY26" fmla="*/ 6858000 h 6858000"/>
              <a:gd name="connsiteX27" fmla="*/ 1339715 w 9164637"/>
              <a:gd name="connsiteY27" fmla="*/ 6858000 h 6858000"/>
              <a:gd name="connsiteX28" fmla="*/ 1196483 w 9164637"/>
              <a:gd name="connsiteY28" fmla="*/ 6858000 h 6858000"/>
              <a:gd name="connsiteX29" fmla="*/ 1024692 w 9164637"/>
              <a:gd name="connsiteY29" fmla="*/ 6858000 h 6858000"/>
              <a:gd name="connsiteX30" fmla="*/ 821744 w 9164637"/>
              <a:gd name="connsiteY30" fmla="*/ 6858000 h 6858000"/>
              <a:gd name="connsiteX31" fmla="*/ 585044 w 9164637"/>
              <a:gd name="connsiteY31" fmla="*/ 6858000 h 6858000"/>
              <a:gd name="connsiteX32" fmla="*/ 311995 w 9164637"/>
              <a:gd name="connsiteY32" fmla="*/ 6858000 h 6858000"/>
              <a:gd name="connsiteX33" fmla="*/ 161028 w 9164637"/>
              <a:gd name="connsiteY33" fmla="*/ 6858000 h 6858000"/>
              <a:gd name="connsiteX34" fmla="*/ 0 w 9164637"/>
              <a:gd name="connsiteY34" fmla="*/ 6858000 h 6858000"/>
              <a:gd name="connsiteX35" fmla="*/ 5849050 w 9164637"/>
              <a:gd name="connsiteY35" fmla="*/ 1008063 h 6858000"/>
              <a:gd name="connsiteX36" fmla="*/ 6292160 w 9164637"/>
              <a:gd name="connsiteY36" fmla="*/ 823516 h 6858000"/>
              <a:gd name="connsiteX37" fmla="*/ 8694737 w 9164637"/>
              <a:gd name="connsiteY37" fmla="*/ 0 h 6858000"/>
              <a:gd name="connsiteX38" fmla="*/ 9164637 w 9164637"/>
              <a:gd name="connsiteY38" fmla="*/ 0 h 6858000"/>
              <a:gd name="connsiteX39" fmla="*/ 9164637 w 9164637"/>
              <a:gd name="connsiteY39" fmla="*/ 2686050 h 6858000"/>
              <a:gd name="connsiteX40" fmla="*/ 4997450 w 9164637"/>
              <a:gd name="connsiteY40" fmla="*/ 6858000 h 6858000"/>
              <a:gd name="connsiteX41" fmla="*/ 1838325 w 9164637"/>
              <a:gd name="connsiteY41" fmla="*/ 6858000 h 6858000"/>
              <a:gd name="connsiteX42" fmla="*/ 6856244 w 9164637"/>
              <a:gd name="connsiteY42" fmla="*/ 0 h 6858000"/>
              <a:gd name="connsiteX43" fmla="*/ 6859705 w 9164637"/>
              <a:gd name="connsiteY43" fmla="*/ 0 h 6858000"/>
              <a:gd name="connsiteX44" fmla="*/ 6867923 w 9164637"/>
              <a:gd name="connsiteY44" fmla="*/ 0 h 6858000"/>
              <a:gd name="connsiteX45" fmla="*/ 6883929 w 9164637"/>
              <a:gd name="connsiteY45" fmla="*/ 0 h 6858000"/>
              <a:gd name="connsiteX46" fmla="*/ 6910316 w 9164637"/>
              <a:gd name="connsiteY46" fmla="*/ 0 h 6858000"/>
              <a:gd name="connsiteX47" fmla="*/ 6949680 w 9164637"/>
              <a:gd name="connsiteY47" fmla="*/ 0 h 6858000"/>
              <a:gd name="connsiteX48" fmla="*/ 7004616 w 9164637"/>
              <a:gd name="connsiteY48" fmla="*/ 0 h 6858000"/>
              <a:gd name="connsiteX49" fmla="*/ 7077721 w 9164637"/>
              <a:gd name="connsiteY49" fmla="*/ 0 h 6858000"/>
              <a:gd name="connsiteX50" fmla="*/ 7171590 w 9164637"/>
              <a:gd name="connsiteY50" fmla="*/ 0 h 6858000"/>
              <a:gd name="connsiteX51" fmla="*/ 7288817 w 9164637"/>
              <a:gd name="connsiteY51" fmla="*/ 0 h 6858000"/>
              <a:gd name="connsiteX52" fmla="*/ 7431998 w 9164637"/>
              <a:gd name="connsiteY52" fmla="*/ 0 h 6858000"/>
              <a:gd name="connsiteX53" fmla="*/ 7603730 w 9164637"/>
              <a:gd name="connsiteY53" fmla="*/ 0 h 6858000"/>
              <a:gd name="connsiteX54" fmla="*/ 7806606 w 9164637"/>
              <a:gd name="connsiteY54" fmla="*/ 0 h 6858000"/>
              <a:gd name="connsiteX55" fmla="*/ 8043224 w 9164637"/>
              <a:gd name="connsiteY55" fmla="*/ 0 h 6858000"/>
              <a:gd name="connsiteX56" fmla="*/ 8316177 w 9164637"/>
              <a:gd name="connsiteY56" fmla="*/ 0 h 6858000"/>
              <a:gd name="connsiteX57" fmla="*/ 8467091 w 9164637"/>
              <a:gd name="connsiteY57" fmla="*/ 0 h 6858000"/>
              <a:gd name="connsiteX58" fmla="*/ 8628062 w 9164637"/>
              <a:gd name="connsiteY58" fmla="*/ 0 h 6858000"/>
              <a:gd name="connsiteX59" fmla="*/ 7652240 w 9164637"/>
              <a:gd name="connsiteY59" fmla="*/ 973244 h 6858000"/>
              <a:gd name="connsiteX60" fmla="*/ 6766331 w 9164637"/>
              <a:gd name="connsiteY60" fmla="*/ 973244 h 6858000"/>
              <a:gd name="connsiteX61" fmla="*/ 6766331 w 9164637"/>
              <a:gd name="connsiteY61" fmla="*/ 87275 h 6858000"/>
              <a:gd name="connsiteX62" fmla="*/ 6856244 w 9164637"/>
              <a:gd name="connsiteY6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164637" h="6858000">
                <a:moveTo>
                  <a:pt x="6317672" y="5860023"/>
                </a:moveTo>
                <a:cubicBezTo>
                  <a:pt x="6478232" y="5860023"/>
                  <a:pt x="6638791" y="5920907"/>
                  <a:pt x="6760367" y="6042677"/>
                </a:cubicBezTo>
                <a:cubicBezTo>
                  <a:pt x="6952310" y="6234927"/>
                  <a:pt x="6992492" y="6526487"/>
                  <a:pt x="6879139" y="6761298"/>
                </a:cubicBezTo>
                <a:lnTo>
                  <a:pt x="6821155" y="6858000"/>
                </a:lnTo>
                <a:lnTo>
                  <a:pt x="5060951" y="6858000"/>
                </a:lnTo>
                <a:lnTo>
                  <a:pt x="5062540" y="6856409"/>
                </a:lnTo>
                <a:cubicBezTo>
                  <a:pt x="5073669" y="6845262"/>
                  <a:pt x="5162704" y="6756086"/>
                  <a:pt x="5874978" y="6042677"/>
                </a:cubicBezTo>
                <a:cubicBezTo>
                  <a:pt x="5996554" y="5920907"/>
                  <a:pt x="6157113" y="5860023"/>
                  <a:pt x="6317672" y="5860023"/>
                </a:cubicBezTo>
                <a:close/>
                <a:moveTo>
                  <a:pt x="9164637" y="2754314"/>
                </a:moveTo>
                <a:cubicBezTo>
                  <a:pt x="9164637" y="2754314"/>
                  <a:pt x="9164637" y="2754314"/>
                  <a:pt x="9164637" y="4521730"/>
                </a:cubicBezTo>
                <a:cubicBezTo>
                  <a:pt x="9164637" y="4521730"/>
                  <a:pt x="9164637" y="4521730"/>
                  <a:pt x="7670947" y="6016626"/>
                </a:cubicBezTo>
                <a:cubicBezTo>
                  <a:pt x="7427726" y="6262688"/>
                  <a:pt x="7028528" y="6262688"/>
                  <a:pt x="6785307" y="6016626"/>
                </a:cubicBezTo>
                <a:cubicBezTo>
                  <a:pt x="6542087" y="5773209"/>
                  <a:pt x="6542087" y="5376334"/>
                  <a:pt x="6785307" y="5130271"/>
                </a:cubicBezTo>
                <a:lnTo>
                  <a:pt x="9127625" y="2786063"/>
                </a:lnTo>
                <a:cubicBezTo>
                  <a:pt x="9140844" y="2775480"/>
                  <a:pt x="9151418" y="2764896"/>
                  <a:pt x="9164637" y="2754314"/>
                </a:cubicBezTo>
                <a:close/>
                <a:moveTo>
                  <a:pt x="6292160" y="823516"/>
                </a:moveTo>
                <a:cubicBezTo>
                  <a:pt x="6452870" y="823516"/>
                  <a:pt x="6613580" y="885032"/>
                  <a:pt x="6735270" y="1008063"/>
                </a:cubicBezTo>
                <a:cubicBezTo>
                  <a:pt x="6978650" y="1251479"/>
                  <a:pt x="6978650" y="1651000"/>
                  <a:pt x="6735270" y="1894417"/>
                </a:cubicBezTo>
                <a:cubicBezTo>
                  <a:pt x="6735270" y="1894417"/>
                  <a:pt x="6735270" y="1894417"/>
                  <a:pt x="1772439" y="6858000"/>
                </a:cubicBezTo>
                <a:lnTo>
                  <a:pt x="1768978" y="6858000"/>
                </a:lnTo>
                <a:lnTo>
                  <a:pt x="1760756" y="6858000"/>
                </a:lnTo>
                <a:lnTo>
                  <a:pt x="1744745" y="6858000"/>
                </a:lnTo>
                <a:lnTo>
                  <a:pt x="1718349" y="6858000"/>
                </a:lnTo>
                <a:lnTo>
                  <a:pt x="1678971" y="6858000"/>
                </a:lnTo>
                <a:lnTo>
                  <a:pt x="1624015" y="6858000"/>
                </a:lnTo>
                <a:lnTo>
                  <a:pt x="1550885" y="6858000"/>
                </a:lnTo>
                <a:lnTo>
                  <a:pt x="1456983" y="6858000"/>
                </a:lnTo>
                <a:lnTo>
                  <a:pt x="1339715" y="6858000"/>
                </a:lnTo>
                <a:lnTo>
                  <a:pt x="1196483" y="6858000"/>
                </a:lnTo>
                <a:lnTo>
                  <a:pt x="1024692" y="6858000"/>
                </a:lnTo>
                <a:lnTo>
                  <a:pt x="821744" y="6858000"/>
                </a:lnTo>
                <a:lnTo>
                  <a:pt x="585044" y="6858000"/>
                </a:lnTo>
                <a:lnTo>
                  <a:pt x="311995" y="6858000"/>
                </a:lnTo>
                <a:lnTo>
                  <a:pt x="161028" y="6858000"/>
                </a:lnTo>
                <a:lnTo>
                  <a:pt x="0" y="6858000"/>
                </a:lnTo>
                <a:cubicBezTo>
                  <a:pt x="0" y="6858000"/>
                  <a:pt x="0" y="6858000"/>
                  <a:pt x="5849050" y="1008063"/>
                </a:cubicBezTo>
                <a:cubicBezTo>
                  <a:pt x="5970740" y="885032"/>
                  <a:pt x="6131450" y="823516"/>
                  <a:pt x="6292160" y="823516"/>
                </a:cubicBezTo>
                <a:close/>
                <a:moveTo>
                  <a:pt x="8694737" y="0"/>
                </a:moveTo>
                <a:lnTo>
                  <a:pt x="9164637" y="0"/>
                </a:lnTo>
                <a:lnTo>
                  <a:pt x="9164637" y="2686050"/>
                </a:lnTo>
                <a:lnTo>
                  <a:pt x="4997450" y="6858000"/>
                </a:lnTo>
                <a:lnTo>
                  <a:pt x="1838325" y="6858000"/>
                </a:lnTo>
                <a:close/>
                <a:moveTo>
                  <a:pt x="6856244" y="0"/>
                </a:moveTo>
                <a:lnTo>
                  <a:pt x="6859705" y="0"/>
                </a:lnTo>
                <a:lnTo>
                  <a:pt x="6867923" y="0"/>
                </a:lnTo>
                <a:lnTo>
                  <a:pt x="6883929" y="0"/>
                </a:lnTo>
                <a:lnTo>
                  <a:pt x="6910316" y="0"/>
                </a:lnTo>
                <a:lnTo>
                  <a:pt x="6949680" y="0"/>
                </a:lnTo>
                <a:lnTo>
                  <a:pt x="7004616" y="0"/>
                </a:lnTo>
                <a:lnTo>
                  <a:pt x="7077721" y="0"/>
                </a:lnTo>
                <a:lnTo>
                  <a:pt x="7171590" y="0"/>
                </a:lnTo>
                <a:lnTo>
                  <a:pt x="7288817" y="0"/>
                </a:lnTo>
                <a:lnTo>
                  <a:pt x="7431998" y="0"/>
                </a:lnTo>
                <a:lnTo>
                  <a:pt x="7603730" y="0"/>
                </a:lnTo>
                <a:lnTo>
                  <a:pt x="7806606" y="0"/>
                </a:lnTo>
                <a:lnTo>
                  <a:pt x="8043224" y="0"/>
                </a:lnTo>
                <a:lnTo>
                  <a:pt x="8316177" y="0"/>
                </a:lnTo>
                <a:lnTo>
                  <a:pt x="8467091" y="0"/>
                </a:lnTo>
                <a:lnTo>
                  <a:pt x="8628062" y="0"/>
                </a:lnTo>
                <a:cubicBezTo>
                  <a:pt x="8628062" y="0"/>
                  <a:pt x="8628062" y="0"/>
                  <a:pt x="7652240" y="973244"/>
                </a:cubicBezTo>
                <a:cubicBezTo>
                  <a:pt x="7408946" y="1219200"/>
                  <a:pt x="7009626" y="1219200"/>
                  <a:pt x="6766331" y="973244"/>
                </a:cubicBezTo>
                <a:cubicBezTo>
                  <a:pt x="6523037" y="729933"/>
                  <a:pt x="6523037" y="330586"/>
                  <a:pt x="6766331" y="87275"/>
                </a:cubicBezTo>
                <a:cubicBezTo>
                  <a:pt x="6766331" y="87275"/>
                  <a:pt x="6766331" y="87275"/>
                  <a:pt x="6856244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D12F34-9160-43F5-BFCE-E2ED30C9BC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04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BAE22B14-6C76-49AB-BED0-5402C8FF1C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012"/>
            <a:ext cx="6016529" cy="6849226"/>
          </a:xfrm>
          <a:custGeom>
            <a:avLst/>
            <a:gdLst>
              <a:gd name="connsiteX0" fmla="*/ 1801388 w 6016529"/>
              <a:gd name="connsiteY0" fmla="*/ 5504671 h 6849226"/>
              <a:gd name="connsiteX1" fmla="*/ 2088635 w 6016529"/>
              <a:gd name="connsiteY1" fmla="*/ 5623907 h 6849226"/>
              <a:gd name="connsiteX2" fmla="*/ 2088635 w 6016529"/>
              <a:gd name="connsiteY2" fmla="*/ 6194943 h 6849226"/>
              <a:gd name="connsiteX3" fmla="*/ 1516579 w 6016529"/>
              <a:gd name="connsiteY3" fmla="*/ 6194943 h 6849226"/>
              <a:gd name="connsiteX4" fmla="*/ 1516579 w 6016529"/>
              <a:gd name="connsiteY4" fmla="*/ 5623907 h 6849226"/>
              <a:gd name="connsiteX5" fmla="*/ 1801388 w 6016529"/>
              <a:gd name="connsiteY5" fmla="*/ 5504671 h 6849226"/>
              <a:gd name="connsiteX6" fmla="*/ 1696584 w 6016529"/>
              <a:gd name="connsiteY6" fmla="*/ 4364868 h 6849226"/>
              <a:gd name="connsiteX7" fmla="*/ 1987195 w 6016529"/>
              <a:gd name="connsiteY7" fmla="*/ 4484170 h 6849226"/>
              <a:gd name="connsiteX8" fmla="*/ 1987195 w 6016529"/>
              <a:gd name="connsiteY8" fmla="*/ 5065263 h 6849226"/>
              <a:gd name="connsiteX9" fmla="*/ 360615 w 6016529"/>
              <a:gd name="connsiteY9" fmla="*/ 6691481 h 6849226"/>
              <a:gd name="connsiteX10" fmla="*/ 202834 w 6016529"/>
              <a:gd name="connsiteY10" fmla="*/ 6849226 h 6849226"/>
              <a:gd name="connsiteX11" fmla="*/ 1 w 6016529"/>
              <a:gd name="connsiteY11" fmla="*/ 6849226 h 6849226"/>
              <a:gd name="connsiteX12" fmla="*/ 1 w 6016529"/>
              <a:gd name="connsiteY12" fmla="*/ 6838974 h 6849226"/>
              <a:gd name="connsiteX13" fmla="*/ 1 w 6016529"/>
              <a:gd name="connsiteY13" fmla="*/ 5893076 h 6849226"/>
              <a:gd name="connsiteX14" fmla="*/ 1405973 w 6016529"/>
              <a:gd name="connsiteY14" fmla="*/ 4484170 h 6849226"/>
              <a:gd name="connsiteX15" fmla="*/ 1696584 w 6016529"/>
              <a:gd name="connsiteY15" fmla="*/ 4364868 h 6849226"/>
              <a:gd name="connsiteX16" fmla="*/ 5356050 w 6016529"/>
              <a:gd name="connsiteY16" fmla="*/ 3185373 h 6849226"/>
              <a:gd name="connsiteX17" fmla="*/ 5647937 w 6016529"/>
              <a:gd name="connsiteY17" fmla="*/ 3304731 h 6849226"/>
              <a:gd name="connsiteX18" fmla="*/ 5647937 w 6016529"/>
              <a:gd name="connsiteY18" fmla="*/ 3882843 h 6849226"/>
              <a:gd name="connsiteX19" fmla="*/ 4417055 w 6016529"/>
              <a:gd name="connsiteY19" fmla="*/ 5110519 h 6849226"/>
              <a:gd name="connsiteX20" fmla="*/ 3838963 w 6016529"/>
              <a:gd name="connsiteY20" fmla="*/ 5110519 h 6849226"/>
              <a:gd name="connsiteX21" fmla="*/ 3838963 w 6016529"/>
              <a:gd name="connsiteY21" fmla="*/ 4532407 h 6849226"/>
              <a:gd name="connsiteX22" fmla="*/ 5066597 w 6016529"/>
              <a:gd name="connsiteY22" fmla="*/ 3304731 h 6849226"/>
              <a:gd name="connsiteX23" fmla="*/ 5356050 w 6016529"/>
              <a:gd name="connsiteY23" fmla="*/ 3185373 h 6849226"/>
              <a:gd name="connsiteX24" fmla="*/ 5536808 w 6016529"/>
              <a:gd name="connsiteY24" fmla="*/ 1763773 h 6849226"/>
              <a:gd name="connsiteX25" fmla="*/ 5825779 w 6016529"/>
              <a:gd name="connsiteY25" fmla="*/ 1885531 h 6849226"/>
              <a:gd name="connsiteX26" fmla="*/ 5825779 w 6016529"/>
              <a:gd name="connsiteY26" fmla="*/ 2463473 h 6849226"/>
              <a:gd name="connsiteX27" fmla="*/ 2708786 w 6016529"/>
              <a:gd name="connsiteY27" fmla="*/ 5580466 h 6849226"/>
              <a:gd name="connsiteX28" fmla="*/ 2127597 w 6016529"/>
              <a:gd name="connsiteY28" fmla="*/ 5580466 h 6849226"/>
              <a:gd name="connsiteX29" fmla="*/ 2127597 w 6016529"/>
              <a:gd name="connsiteY29" fmla="*/ 5002523 h 6849226"/>
              <a:gd name="connsiteX30" fmla="*/ 5247836 w 6016529"/>
              <a:gd name="connsiteY30" fmla="*/ 1885531 h 6849226"/>
              <a:gd name="connsiteX31" fmla="*/ 5536808 w 6016529"/>
              <a:gd name="connsiteY31" fmla="*/ 1763773 h 6849226"/>
              <a:gd name="connsiteX32" fmla="*/ 3838081 w 6016529"/>
              <a:gd name="connsiteY32" fmla="*/ 983508 h 6849226"/>
              <a:gd name="connsiteX33" fmla="*/ 4127118 w 6016529"/>
              <a:gd name="connsiteY33" fmla="*/ 1102856 h 6849226"/>
              <a:gd name="connsiteX34" fmla="*/ 4127118 w 6016529"/>
              <a:gd name="connsiteY34" fmla="*/ 1684167 h 6849226"/>
              <a:gd name="connsiteX35" fmla="*/ 834045 w 6016529"/>
              <a:gd name="connsiteY35" fmla="*/ 4977183 h 6849226"/>
              <a:gd name="connsiteX36" fmla="*/ 255971 w 6016529"/>
              <a:gd name="connsiteY36" fmla="*/ 4977183 h 6849226"/>
              <a:gd name="connsiteX37" fmla="*/ 255971 w 6016529"/>
              <a:gd name="connsiteY37" fmla="*/ 4395872 h 6849226"/>
              <a:gd name="connsiteX38" fmla="*/ 3549044 w 6016529"/>
              <a:gd name="connsiteY38" fmla="*/ 1102856 h 6849226"/>
              <a:gd name="connsiteX39" fmla="*/ 3838081 w 6016529"/>
              <a:gd name="connsiteY39" fmla="*/ 983508 h 6849226"/>
              <a:gd name="connsiteX40" fmla="*/ 2974523 w 6016529"/>
              <a:gd name="connsiteY40" fmla="*/ 610447 h 6849226"/>
              <a:gd name="connsiteX41" fmla="*/ 3263533 w 6016529"/>
              <a:gd name="connsiteY41" fmla="*/ 729803 h 6849226"/>
              <a:gd name="connsiteX42" fmla="*/ 3263533 w 6016529"/>
              <a:gd name="connsiteY42" fmla="*/ 1307904 h 6849226"/>
              <a:gd name="connsiteX43" fmla="*/ 217569 w 6016529"/>
              <a:gd name="connsiteY43" fmla="*/ 4357551 h 6849226"/>
              <a:gd name="connsiteX44" fmla="*/ 0 w 6016529"/>
              <a:gd name="connsiteY44" fmla="*/ 4467975 h 6849226"/>
              <a:gd name="connsiteX45" fmla="*/ 0 w 6016529"/>
              <a:gd name="connsiteY45" fmla="*/ 4465920 h 6849226"/>
              <a:gd name="connsiteX46" fmla="*/ 0 w 6016529"/>
              <a:gd name="connsiteY46" fmla="*/ 4451533 h 6849226"/>
              <a:gd name="connsiteX47" fmla="*/ 0 w 6016529"/>
              <a:gd name="connsiteY47" fmla="*/ 4435862 h 6849226"/>
              <a:gd name="connsiteX48" fmla="*/ 0 w 6016529"/>
              <a:gd name="connsiteY48" fmla="*/ 4412484 h 6849226"/>
              <a:gd name="connsiteX49" fmla="*/ 0 w 6016529"/>
              <a:gd name="connsiteY49" fmla="*/ 4379858 h 6849226"/>
              <a:gd name="connsiteX50" fmla="*/ 0 w 6016529"/>
              <a:gd name="connsiteY50" fmla="*/ 4336441 h 6849226"/>
              <a:gd name="connsiteX51" fmla="*/ 0 w 6016529"/>
              <a:gd name="connsiteY51" fmla="*/ 4280693 h 6849226"/>
              <a:gd name="connsiteX52" fmla="*/ 0 w 6016529"/>
              <a:gd name="connsiteY52" fmla="*/ 4211072 h 6849226"/>
              <a:gd name="connsiteX53" fmla="*/ 0 w 6016529"/>
              <a:gd name="connsiteY53" fmla="*/ 4126038 h 6849226"/>
              <a:gd name="connsiteX54" fmla="*/ 0 w 6016529"/>
              <a:gd name="connsiteY54" fmla="*/ 4024047 h 6849226"/>
              <a:gd name="connsiteX55" fmla="*/ 0 w 6016529"/>
              <a:gd name="connsiteY55" fmla="*/ 3903560 h 6849226"/>
              <a:gd name="connsiteX56" fmla="*/ 0 w 6016529"/>
              <a:gd name="connsiteY56" fmla="*/ 3763034 h 6849226"/>
              <a:gd name="connsiteX57" fmla="*/ 0 w 6016529"/>
              <a:gd name="connsiteY57" fmla="*/ 3600928 h 6849226"/>
              <a:gd name="connsiteX58" fmla="*/ 0 w 6016529"/>
              <a:gd name="connsiteY58" fmla="*/ 3415701 h 6849226"/>
              <a:gd name="connsiteX59" fmla="*/ 2685514 w 6016529"/>
              <a:gd name="connsiteY59" fmla="*/ 729803 h 6849226"/>
              <a:gd name="connsiteX60" fmla="*/ 2974523 w 6016529"/>
              <a:gd name="connsiteY60" fmla="*/ 610447 h 6849226"/>
              <a:gd name="connsiteX61" fmla="*/ 5606520 w 6016529"/>
              <a:gd name="connsiteY61" fmla="*/ 454871 h 6849226"/>
              <a:gd name="connsiteX62" fmla="*/ 5897180 w 6016529"/>
              <a:gd name="connsiteY62" fmla="*/ 574220 h 6849226"/>
              <a:gd name="connsiteX63" fmla="*/ 5897180 w 6016529"/>
              <a:gd name="connsiteY63" fmla="*/ 1155542 h 6849226"/>
              <a:gd name="connsiteX64" fmla="*/ 2607355 w 6016529"/>
              <a:gd name="connsiteY64" fmla="*/ 4445367 h 6849226"/>
              <a:gd name="connsiteX65" fmla="*/ 2026033 w 6016529"/>
              <a:gd name="connsiteY65" fmla="*/ 4445367 h 6849226"/>
              <a:gd name="connsiteX66" fmla="*/ 2026033 w 6016529"/>
              <a:gd name="connsiteY66" fmla="*/ 3867293 h 6849226"/>
              <a:gd name="connsiteX67" fmla="*/ 5315859 w 6016529"/>
              <a:gd name="connsiteY67" fmla="*/ 574220 h 6849226"/>
              <a:gd name="connsiteX68" fmla="*/ 5606520 w 6016529"/>
              <a:gd name="connsiteY68" fmla="*/ 454871 h 6849226"/>
              <a:gd name="connsiteX69" fmla="*/ 3590538 w 6016529"/>
              <a:gd name="connsiteY69" fmla="*/ 0 h 6849226"/>
              <a:gd name="connsiteX70" fmla="*/ 3877809 w 6016529"/>
              <a:gd name="connsiteY70" fmla="*/ 116812 h 6849226"/>
              <a:gd name="connsiteX71" fmla="*/ 3877809 w 6016529"/>
              <a:gd name="connsiteY71" fmla="*/ 687893 h 6849226"/>
              <a:gd name="connsiteX72" fmla="*/ 3305704 w 6016529"/>
              <a:gd name="connsiteY72" fmla="*/ 687893 h 6849226"/>
              <a:gd name="connsiteX73" fmla="*/ 3305704 w 6016529"/>
              <a:gd name="connsiteY73" fmla="*/ 116812 h 6849226"/>
              <a:gd name="connsiteX74" fmla="*/ 3590538 w 6016529"/>
              <a:gd name="connsiteY74" fmla="*/ 0 h 6849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16529" h="6849226">
                <a:moveTo>
                  <a:pt x="1801388" y="5504671"/>
                </a:moveTo>
                <a:cubicBezTo>
                  <a:pt x="1904992" y="5504671"/>
                  <a:pt x="2009003" y="5544416"/>
                  <a:pt x="2088635" y="5623907"/>
                </a:cubicBezTo>
                <a:cubicBezTo>
                  <a:pt x="2247901" y="5779644"/>
                  <a:pt x="2247901" y="6035962"/>
                  <a:pt x="2088635" y="6194943"/>
                </a:cubicBezTo>
                <a:cubicBezTo>
                  <a:pt x="1929370" y="6353925"/>
                  <a:pt x="1672594" y="6353925"/>
                  <a:pt x="1516579" y="6194943"/>
                </a:cubicBezTo>
                <a:cubicBezTo>
                  <a:pt x="1357313" y="6035962"/>
                  <a:pt x="1357313" y="5779644"/>
                  <a:pt x="1516579" y="5623907"/>
                </a:cubicBezTo>
                <a:cubicBezTo>
                  <a:pt x="1594586" y="5544416"/>
                  <a:pt x="1697784" y="5504671"/>
                  <a:pt x="1801388" y="5504671"/>
                </a:cubicBezTo>
                <a:close/>
                <a:moveTo>
                  <a:pt x="1696584" y="4364868"/>
                </a:moveTo>
                <a:cubicBezTo>
                  <a:pt x="1802113" y="4364868"/>
                  <a:pt x="1907643" y="4404635"/>
                  <a:pt x="1987195" y="4484170"/>
                </a:cubicBezTo>
                <a:cubicBezTo>
                  <a:pt x="2146300" y="4643240"/>
                  <a:pt x="2146300" y="4906193"/>
                  <a:pt x="1987195" y="5065263"/>
                </a:cubicBezTo>
                <a:cubicBezTo>
                  <a:pt x="1987195" y="5065263"/>
                  <a:pt x="1987195" y="5065263"/>
                  <a:pt x="360615" y="6691481"/>
                </a:cubicBezTo>
                <a:lnTo>
                  <a:pt x="202834" y="6849226"/>
                </a:lnTo>
                <a:lnTo>
                  <a:pt x="1" y="6849226"/>
                </a:lnTo>
                <a:lnTo>
                  <a:pt x="1" y="6838974"/>
                </a:lnTo>
                <a:cubicBezTo>
                  <a:pt x="1" y="6793931"/>
                  <a:pt x="1" y="6613760"/>
                  <a:pt x="1" y="5893076"/>
                </a:cubicBezTo>
                <a:cubicBezTo>
                  <a:pt x="1" y="5893076"/>
                  <a:pt x="1" y="5893076"/>
                  <a:pt x="1405973" y="4484170"/>
                </a:cubicBezTo>
                <a:cubicBezTo>
                  <a:pt x="1485526" y="4404635"/>
                  <a:pt x="1591055" y="4364868"/>
                  <a:pt x="1696584" y="4364868"/>
                </a:cubicBezTo>
                <a:close/>
                <a:moveTo>
                  <a:pt x="5356050" y="3185373"/>
                </a:moveTo>
                <a:cubicBezTo>
                  <a:pt x="5461194" y="3185373"/>
                  <a:pt x="5566745" y="3225159"/>
                  <a:pt x="5647937" y="3304731"/>
                </a:cubicBezTo>
                <a:cubicBezTo>
                  <a:pt x="5807075" y="3463874"/>
                  <a:pt x="5807075" y="3723699"/>
                  <a:pt x="5647937" y="3882843"/>
                </a:cubicBezTo>
                <a:cubicBezTo>
                  <a:pt x="5647937" y="3882843"/>
                  <a:pt x="5647937" y="3882843"/>
                  <a:pt x="4417055" y="5110519"/>
                </a:cubicBezTo>
                <a:cubicBezTo>
                  <a:pt x="4257918" y="5269662"/>
                  <a:pt x="3998101" y="5269662"/>
                  <a:pt x="3838963" y="5110519"/>
                </a:cubicBezTo>
                <a:cubicBezTo>
                  <a:pt x="3679825" y="4951376"/>
                  <a:pt x="3679825" y="4691550"/>
                  <a:pt x="3838963" y="4532407"/>
                </a:cubicBezTo>
                <a:cubicBezTo>
                  <a:pt x="3838963" y="4532407"/>
                  <a:pt x="3838963" y="4532407"/>
                  <a:pt x="5066597" y="3304731"/>
                </a:cubicBezTo>
                <a:cubicBezTo>
                  <a:pt x="5146166" y="3225159"/>
                  <a:pt x="5250905" y="3185373"/>
                  <a:pt x="5356050" y="3185373"/>
                </a:cubicBezTo>
                <a:close/>
                <a:moveTo>
                  <a:pt x="5536808" y="1763773"/>
                </a:moveTo>
                <a:cubicBezTo>
                  <a:pt x="5641519" y="1763773"/>
                  <a:pt x="5746231" y="1804359"/>
                  <a:pt x="5825779" y="1885531"/>
                </a:cubicBezTo>
                <a:cubicBezTo>
                  <a:pt x="5984875" y="2044627"/>
                  <a:pt x="5984875" y="2304377"/>
                  <a:pt x="5825779" y="2463473"/>
                </a:cubicBezTo>
                <a:cubicBezTo>
                  <a:pt x="5825779" y="2463473"/>
                  <a:pt x="5825779" y="2463473"/>
                  <a:pt x="2708786" y="5580466"/>
                </a:cubicBezTo>
                <a:cubicBezTo>
                  <a:pt x="2549689" y="5739562"/>
                  <a:pt x="2286693" y="5739562"/>
                  <a:pt x="2127597" y="5580466"/>
                </a:cubicBezTo>
                <a:cubicBezTo>
                  <a:pt x="1968500" y="5421369"/>
                  <a:pt x="1968500" y="5161620"/>
                  <a:pt x="2127597" y="5002523"/>
                </a:cubicBezTo>
                <a:cubicBezTo>
                  <a:pt x="2127597" y="5002523"/>
                  <a:pt x="2127597" y="5002523"/>
                  <a:pt x="5247836" y="1885531"/>
                </a:cubicBezTo>
                <a:cubicBezTo>
                  <a:pt x="5327384" y="1804359"/>
                  <a:pt x="5432096" y="1763773"/>
                  <a:pt x="5536808" y="1763773"/>
                </a:cubicBezTo>
                <a:close/>
                <a:moveTo>
                  <a:pt x="3838081" y="983508"/>
                </a:moveTo>
                <a:cubicBezTo>
                  <a:pt x="3942817" y="983508"/>
                  <a:pt x="4047552" y="1023291"/>
                  <a:pt x="4127118" y="1102856"/>
                </a:cubicBezTo>
                <a:cubicBezTo>
                  <a:pt x="4286251" y="1265233"/>
                  <a:pt x="4286251" y="1525037"/>
                  <a:pt x="4127118" y="1684167"/>
                </a:cubicBezTo>
                <a:cubicBezTo>
                  <a:pt x="4127118" y="1684167"/>
                  <a:pt x="4127118" y="1684167"/>
                  <a:pt x="834045" y="4977183"/>
                </a:cubicBezTo>
                <a:cubicBezTo>
                  <a:pt x="674913" y="5136313"/>
                  <a:pt x="415104" y="5136313"/>
                  <a:pt x="255971" y="4977183"/>
                </a:cubicBezTo>
                <a:cubicBezTo>
                  <a:pt x="96839" y="4814806"/>
                  <a:pt x="96839" y="4555002"/>
                  <a:pt x="255971" y="4395872"/>
                </a:cubicBezTo>
                <a:cubicBezTo>
                  <a:pt x="255971" y="4395872"/>
                  <a:pt x="255971" y="4395872"/>
                  <a:pt x="3549044" y="1102856"/>
                </a:cubicBezTo>
                <a:cubicBezTo>
                  <a:pt x="3628611" y="1023291"/>
                  <a:pt x="3733346" y="983508"/>
                  <a:pt x="3838081" y="983508"/>
                </a:cubicBezTo>
                <a:close/>
                <a:moveTo>
                  <a:pt x="2974523" y="610447"/>
                </a:moveTo>
                <a:cubicBezTo>
                  <a:pt x="3079249" y="610447"/>
                  <a:pt x="3183974" y="650233"/>
                  <a:pt x="3263533" y="729803"/>
                </a:cubicBezTo>
                <a:cubicBezTo>
                  <a:pt x="3422650" y="888943"/>
                  <a:pt x="3422650" y="1148764"/>
                  <a:pt x="3263533" y="1307904"/>
                </a:cubicBezTo>
                <a:lnTo>
                  <a:pt x="217569" y="4357551"/>
                </a:lnTo>
                <a:cubicBezTo>
                  <a:pt x="155871" y="4419259"/>
                  <a:pt x="77935" y="4454984"/>
                  <a:pt x="0" y="4467975"/>
                </a:cubicBezTo>
                <a:lnTo>
                  <a:pt x="0" y="4465920"/>
                </a:lnTo>
                <a:lnTo>
                  <a:pt x="0" y="4451533"/>
                </a:lnTo>
                <a:lnTo>
                  <a:pt x="0" y="4435862"/>
                </a:lnTo>
                <a:lnTo>
                  <a:pt x="0" y="4412484"/>
                </a:lnTo>
                <a:lnTo>
                  <a:pt x="0" y="4379858"/>
                </a:lnTo>
                <a:lnTo>
                  <a:pt x="0" y="4336441"/>
                </a:lnTo>
                <a:lnTo>
                  <a:pt x="0" y="4280693"/>
                </a:lnTo>
                <a:lnTo>
                  <a:pt x="0" y="4211072"/>
                </a:lnTo>
                <a:lnTo>
                  <a:pt x="0" y="4126038"/>
                </a:lnTo>
                <a:lnTo>
                  <a:pt x="0" y="4024047"/>
                </a:lnTo>
                <a:lnTo>
                  <a:pt x="0" y="3903560"/>
                </a:lnTo>
                <a:lnTo>
                  <a:pt x="0" y="3763034"/>
                </a:lnTo>
                <a:lnTo>
                  <a:pt x="0" y="3600928"/>
                </a:lnTo>
                <a:lnTo>
                  <a:pt x="0" y="3415701"/>
                </a:lnTo>
                <a:cubicBezTo>
                  <a:pt x="0" y="3415701"/>
                  <a:pt x="0" y="3415701"/>
                  <a:pt x="2685514" y="729803"/>
                </a:cubicBezTo>
                <a:cubicBezTo>
                  <a:pt x="2765073" y="650233"/>
                  <a:pt x="2869798" y="610447"/>
                  <a:pt x="2974523" y="610447"/>
                </a:cubicBezTo>
                <a:close/>
                <a:moveTo>
                  <a:pt x="5606520" y="454871"/>
                </a:moveTo>
                <a:cubicBezTo>
                  <a:pt x="5712067" y="454871"/>
                  <a:pt x="5817614" y="494654"/>
                  <a:pt x="5897180" y="574220"/>
                </a:cubicBezTo>
                <a:cubicBezTo>
                  <a:pt x="6056313" y="733353"/>
                  <a:pt x="6056313" y="996409"/>
                  <a:pt x="5897180" y="1155542"/>
                </a:cubicBezTo>
                <a:cubicBezTo>
                  <a:pt x="5897180" y="1155542"/>
                  <a:pt x="5897180" y="1155542"/>
                  <a:pt x="2607355" y="4445367"/>
                </a:cubicBezTo>
                <a:cubicBezTo>
                  <a:pt x="2444975" y="4604500"/>
                  <a:pt x="2185166" y="4604500"/>
                  <a:pt x="2026033" y="4445367"/>
                </a:cubicBezTo>
                <a:cubicBezTo>
                  <a:pt x="1866901" y="4286235"/>
                  <a:pt x="1866901" y="4026426"/>
                  <a:pt x="2026033" y="3867293"/>
                </a:cubicBezTo>
                <a:cubicBezTo>
                  <a:pt x="2026033" y="3867293"/>
                  <a:pt x="2026033" y="3867293"/>
                  <a:pt x="5315859" y="574220"/>
                </a:cubicBezTo>
                <a:cubicBezTo>
                  <a:pt x="5395425" y="494654"/>
                  <a:pt x="5500972" y="454871"/>
                  <a:pt x="5606520" y="454871"/>
                </a:cubicBezTo>
                <a:close/>
                <a:moveTo>
                  <a:pt x="3590538" y="0"/>
                </a:moveTo>
                <a:cubicBezTo>
                  <a:pt x="3694151" y="0"/>
                  <a:pt x="3798170" y="38937"/>
                  <a:pt x="3877809" y="116812"/>
                </a:cubicBezTo>
                <a:cubicBezTo>
                  <a:pt x="4033838" y="275806"/>
                  <a:pt x="4033838" y="532144"/>
                  <a:pt x="3877809" y="687893"/>
                </a:cubicBezTo>
                <a:cubicBezTo>
                  <a:pt x="3718530" y="846887"/>
                  <a:pt x="3461733" y="846887"/>
                  <a:pt x="3305704" y="687893"/>
                </a:cubicBezTo>
                <a:cubicBezTo>
                  <a:pt x="3146425" y="532144"/>
                  <a:pt x="3146425" y="275806"/>
                  <a:pt x="3305704" y="116812"/>
                </a:cubicBezTo>
                <a:cubicBezTo>
                  <a:pt x="3383719" y="38937"/>
                  <a:pt x="3486925" y="0"/>
                  <a:pt x="3590538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E65771-7C11-4A8C-84F4-5192D613DB5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C836A395-FD4E-4917-8E6D-2BE4CAD835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7536598-0245-4E2C-BBB9-0BD097E797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884C363C-541B-44AF-8E1E-02C68EDA59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FCEAB378-025C-41A6-9397-DD16EC6FDF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258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8417A7B-0748-4FAB-875B-381521CB81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06507" y="1"/>
            <a:ext cx="5682319" cy="6857999"/>
          </a:xfrm>
          <a:custGeom>
            <a:avLst/>
            <a:gdLst>
              <a:gd name="connsiteX0" fmla="*/ 3882150 w 5682319"/>
              <a:gd name="connsiteY0" fmla="*/ 4074443 h 6857999"/>
              <a:gd name="connsiteX1" fmla="*/ 4169357 w 5682319"/>
              <a:gd name="connsiteY1" fmla="*/ 4191499 h 6857999"/>
              <a:gd name="connsiteX2" fmla="*/ 4169357 w 5682319"/>
              <a:gd name="connsiteY2" fmla="*/ 4765537 h 6857999"/>
              <a:gd name="connsiteX3" fmla="*/ 2075525 w 5682319"/>
              <a:gd name="connsiteY3" fmla="*/ 6857999 h 6857999"/>
              <a:gd name="connsiteX4" fmla="*/ 929344 w 5682319"/>
              <a:gd name="connsiteY4" fmla="*/ 6857999 h 6857999"/>
              <a:gd name="connsiteX5" fmla="*/ 3594943 w 5682319"/>
              <a:gd name="connsiteY5" fmla="*/ 4191499 h 6857999"/>
              <a:gd name="connsiteX6" fmla="*/ 3882150 w 5682319"/>
              <a:gd name="connsiteY6" fmla="*/ 4074443 h 6857999"/>
              <a:gd name="connsiteX7" fmla="*/ 5682319 w 5682319"/>
              <a:gd name="connsiteY7" fmla="*/ 3317874 h 6857999"/>
              <a:gd name="connsiteX8" fmla="*/ 5682319 w 5682319"/>
              <a:gd name="connsiteY8" fmla="*/ 4466166 h 6857999"/>
              <a:gd name="connsiteX9" fmla="*/ 3668064 w 5682319"/>
              <a:gd name="connsiteY9" fmla="*/ 6479645 h 6857999"/>
              <a:gd name="connsiteX10" fmla="*/ 3096343 w 5682319"/>
              <a:gd name="connsiteY10" fmla="*/ 6479645 h 6857999"/>
              <a:gd name="connsiteX11" fmla="*/ 3096343 w 5682319"/>
              <a:gd name="connsiteY11" fmla="*/ 5905499 h 6857999"/>
              <a:gd name="connsiteX12" fmla="*/ 4185522 w 5682319"/>
              <a:gd name="connsiteY12" fmla="*/ 1341442 h 6857999"/>
              <a:gd name="connsiteX13" fmla="*/ 4472627 w 5682319"/>
              <a:gd name="connsiteY13" fmla="*/ 1460518 h 6857999"/>
              <a:gd name="connsiteX14" fmla="*/ 4472627 w 5682319"/>
              <a:gd name="connsiteY14" fmla="*/ 2034728 h 6857999"/>
              <a:gd name="connsiteX15" fmla="*/ 691303 w 5682319"/>
              <a:gd name="connsiteY15" fmla="*/ 5816052 h 6857999"/>
              <a:gd name="connsiteX16" fmla="*/ 117092 w 5682319"/>
              <a:gd name="connsiteY16" fmla="*/ 5816052 h 6857999"/>
              <a:gd name="connsiteX17" fmla="*/ 117092 w 5682319"/>
              <a:gd name="connsiteY17" fmla="*/ 5241841 h 6857999"/>
              <a:gd name="connsiteX18" fmla="*/ 3898416 w 5682319"/>
              <a:gd name="connsiteY18" fmla="*/ 1460518 h 6857999"/>
              <a:gd name="connsiteX19" fmla="*/ 4185522 w 5682319"/>
              <a:gd name="connsiteY19" fmla="*/ 1341442 h 6857999"/>
              <a:gd name="connsiteX20" fmla="*/ 5682319 w 5682319"/>
              <a:gd name="connsiteY20" fmla="*/ 892174 h 6857999"/>
              <a:gd name="connsiteX21" fmla="*/ 5682319 w 5682319"/>
              <a:gd name="connsiteY21" fmla="*/ 2037686 h 6857999"/>
              <a:gd name="connsiteX22" fmla="*/ 2456186 w 5682319"/>
              <a:gd name="connsiteY22" fmla="*/ 5265226 h 6857999"/>
              <a:gd name="connsiteX23" fmla="*/ 1881887 w 5682319"/>
              <a:gd name="connsiteY23" fmla="*/ 5265226 h 6857999"/>
              <a:gd name="connsiteX24" fmla="*/ 1881887 w 5682319"/>
              <a:gd name="connsiteY24" fmla="*/ 4691147 h 6857999"/>
              <a:gd name="connsiteX25" fmla="*/ 5663793 w 5682319"/>
              <a:gd name="connsiteY25" fmla="*/ 910693 h 6857999"/>
              <a:gd name="connsiteX26" fmla="*/ 5682319 w 5682319"/>
              <a:gd name="connsiteY26" fmla="*/ 892174 h 6857999"/>
              <a:gd name="connsiteX27" fmla="*/ 4144645 w 5682319"/>
              <a:gd name="connsiteY27" fmla="*/ 0 h 6857999"/>
              <a:gd name="connsiteX28" fmla="*/ 5293380 w 5682319"/>
              <a:gd name="connsiteY28" fmla="*/ 0 h 6857999"/>
              <a:gd name="connsiteX29" fmla="*/ 5292555 w 5682319"/>
              <a:gd name="connsiteY29" fmla="*/ 824 h 6857999"/>
              <a:gd name="connsiteX30" fmla="*/ 1910701 w 5682319"/>
              <a:gd name="connsiteY30" fmla="*/ 3380869 h 6857999"/>
              <a:gd name="connsiteX31" fmla="*/ 1338981 w 5682319"/>
              <a:gd name="connsiteY31" fmla="*/ 3380869 h 6857999"/>
              <a:gd name="connsiteX32" fmla="*/ 1338981 w 5682319"/>
              <a:gd name="connsiteY32" fmla="*/ 2806808 h 6857999"/>
              <a:gd name="connsiteX33" fmla="*/ 3889749 w 5682319"/>
              <a:gd name="connsiteY33" fmla="*/ 25500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682319" h="6857999">
                <a:moveTo>
                  <a:pt x="3882150" y="4074443"/>
                </a:moveTo>
                <a:cubicBezTo>
                  <a:pt x="3986048" y="4074443"/>
                  <a:pt x="4089945" y="4113462"/>
                  <a:pt x="4169357" y="4191499"/>
                </a:cubicBezTo>
                <a:cubicBezTo>
                  <a:pt x="4328181" y="4350219"/>
                  <a:pt x="4328181" y="4609462"/>
                  <a:pt x="4169357" y="4765537"/>
                </a:cubicBezTo>
                <a:cubicBezTo>
                  <a:pt x="4169357" y="4765537"/>
                  <a:pt x="4169357" y="4765537"/>
                  <a:pt x="2075525" y="6857999"/>
                </a:cubicBezTo>
                <a:cubicBezTo>
                  <a:pt x="2075525" y="6857999"/>
                  <a:pt x="2075525" y="6857999"/>
                  <a:pt x="929344" y="6857999"/>
                </a:cubicBezTo>
                <a:cubicBezTo>
                  <a:pt x="929344" y="6857999"/>
                  <a:pt x="929344" y="6857999"/>
                  <a:pt x="3594943" y="4191499"/>
                </a:cubicBezTo>
                <a:cubicBezTo>
                  <a:pt x="3674355" y="4113462"/>
                  <a:pt x="3778252" y="4074443"/>
                  <a:pt x="3882150" y="4074443"/>
                </a:cubicBezTo>
                <a:close/>
                <a:moveTo>
                  <a:pt x="5682319" y="3317874"/>
                </a:moveTo>
                <a:cubicBezTo>
                  <a:pt x="5682319" y="3317874"/>
                  <a:pt x="5682319" y="3317874"/>
                  <a:pt x="5682319" y="4466166"/>
                </a:cubicBezTo>
                <a:cubicBezTo>
                  <a:pt x="5682319" y="4466166"/>
                  <a:pt x="5682319" y="4466166"/>
                  <a:pt x="3668064" y="6479645"/>
                </a:cubicBezTo>
                <a:cubicBezTo>
                  <a:pt x="3511899" y="6635749"/>
                  <a:pt x="3252508" y="6635749"/>
                  <a:pt x="3096343" y="6479645"/>
                </a:cubicBezTo>
                <a:cubicBezTo>
                  <a:pt x="2937532" y="6320895"/>
                  <a:pt x="2937532" y="6061603"/>
                  <a:pt x="3096343" y="5905499"/>
                </a:cubicBezTo>
                <a:close/>
                <a:moveTo>
                  <a:pt x="4185522" y="1341442"/>
                </a:moveTo>
                <a:cubicBezTo>
                  <a:pt x="4289382" y="1341442"/>
                  <a:pt x="4393243" y="1381134"/>
                  <a:pt x="4472627" y="1460518"/>
                </a:cubicBezTo>
                <a:cubicBezTo>
                  <a:pt x="4631395" y="1619285"/>
                  <a:pt x="4631395" y="1875960"/>
                  <a:pt x="4472627" y="2034728"/>
                </a:cubicBezTo>
                <a:cubicBezTo>
                  <a:pt x="4472627" y="2034728"/>
                  <a:pt x="4472627" y="2034728"/>
                  <a:pt x="691303" y="5816052"/>
                </a:cubicBezTo>
                <a:cubicBezTo>
                  <a:pt x="532535" y="5972174"/>
                  <a:pt x="275860" y="5972174"/>
                  <a:pt x="117092" y="5816052"/>
                </a:cubicBezTo>
                <a:cubicBezTo>
                  <a:pt x="-39030" y="5657284"/>
                  <a:pt x="-39030" y="5400609"/>
                  <a:pt x="117092" y="5241841"/>
                </a:cubicBezTo>
                <a:cubicBezTo>
                  <a:pt x="117092" y="5241841"/>
                  <a:pt x="117092" y="5241841"/>
                  <a:pt x="3898416" y="1460518"/>
                </a:cubicBezTo>
                <a:cubicBezTo>
                  <a:pt x="3977800" y="1381134"/>
                  <a:pt x="4081661" y="1341442"/>
                  <a:pt x="4185522" y="1341442"/>
                </a:cubicBezTo>
                <a:close/>
                <a:moveTo>
                  <a:pt x="5682319" y="892174"/>
                </a:moveTo>
                <a:cubicBezTo>
                  <a:pt x="5682319" y="892174"/>
                  <a:pt x="5682319" y="892174"/>
                  <a:pt x="5682319" y="2037686"/>
                </a:cubicBezTo>
                <a:cubicBezTo>
                  <a:pt x="5682319" y="2037686"/>
                  <a:pt x="5682319" y="2037686"/>
                  <a:pt x="2456186" y="5265226"/>
                </a:cubicBezTo>
                <a:cubicBezTo>
                  <a:pt x="2297393" y="5421312"/>
                  <a:pt x="2040679" y="5421312"/>
                  <a:pt x="1881887" y="5265226"/>
                </a:cubicBezTo>
                <a:cubicBezTo>
                  <a:pt x="1723094" y="5106495"/>
                  <a:pt x="1723094" y="4849879"/>
                  <a:pt x="1881887" y="4691147"/>
                </a:cubicBezTo>
                <a:lnTo>
                  <a:pt x="5663793" y="910693"/>
                </a:lnTo>
                <a:cubicBezTo>
                  <a:pt x="5669086" y="905402"/>
                  <a:pt x="5677026" y="900111"/>
                  <a:pt x="5682319" y="892174"/>
                </a:cubicBezTo>
                <a:close/>
                <a:moveTo>
                  <a:pt x="4144645" y="0"/>
                </a:moveTo>
                <a:lnTo>
                  <a:pt x="5293380" y="0"/>
                </a:lnTo>
                <a:lnTo>
                  <a:pt x="5292555" y="824"/>
                </a:lnTo>
                <a:cubicBezTo>
                  <a:pt x="5280167" y="13206"/>
                  <a:pt x="5081964" y="211303"/>
                  <a:pt x="1910701" y="3380869"/>
                </a:cubicBezTo>
                <a:cubicBezTo>
                  <a:pt x="1754537" y="3536949"/>
                  <a:pt x="1495145" y="3536949"/>
                  <a:pt x="1338981" y="3380869"/>
                </a:cubicBezTo>
                <a:cubicBezTo>
                  <a:pt x="1180169" y="3222143"/>
                  <a:pt x="1180169" y="2962889"/>
                  <a:pt x="1338981" y="2806808"/>
                </a:cubicBezTo>
                <a:cubicBezTo>
                  <a:pt x="1338981" y="2806808"/>
                  <a:pt x="1338981" y="2806808"/>
                  <a:pt x="3889749" y="2550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968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DA7DB7-B22C-4B80-97B4-17A8ADF157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857737" y="0"/>
            <a:ext cx="6334262" cy="6858000"/>
          </a:xfrm>
          <a:custGeom>
            <a:avLst/>
            <a:gdLst>
              <a:gd name="connsiteX0" fmla="*/ 4013337 w 6334262"/>
              <a:gd name="connsiteY0" fmla="*/ 5842794 h 6858000"/>
              <a:gd name="connsiteX1" fmla="*/ 4330837 w 6334262"/>
              <a:gd name="connsiteY1" fmla="*/ 5973762 h 6858000"/>
              <a:gd name="connsiteX2" fmla="*/ 4330837 w 6334262"/>
              <a:gd name="connsiteY2" fmla="*/ 6608762 h 6858000"/>
              <a:gd name="connsiteX3" fmla="*/ 3695837 w 6334262"/>
              <a:gd name="connsiteY3" fmla="*/ 6608762 h 6858000"/>
              <a:gd name="connsiteX4" fmla="*/ 3695837 w 6334262"/>
              <a:gd name="connsiteY4" fmla="*/ 5973762 h 6858000"/>
              <a:gd name="connsiteX5" fmla="*/ 4013337 w 6334262"/>
              <a:gd name="connsiteY5" fmla="*/ 5842794 h 6858000"/>
              <a:gd name="connsiteX6" fmla="*/ 3809726 w 6334262"/>
              <a:gd name="connsiteY6" fmla="*/ 4691876 h 6858000"/>
              <a:gd name="connsiteX7" fmla="*/ 4129796 w 6334262"/>
              <a:gd name="connsiteY7" fmla="*/ 4822907 h 6858000"/>
              <a:gd name="connsiteX8" fmla="*/ 4129796 w 6334262"/>
              <a:gd name="connsiteY8" fmla="*/ 5466147 h 6858000"/>
              <a:gd name="connsiteX9" fmla="*/ 2881257 w 6334262"/>
              <a:gd name="connsiteY9" fmla="*/ 6715570 h 6858000"/>
              <a:gd name="connsiteX10" fmla="*/ 2241116 w 6334262"/>
              <a:gd name="connsiteY10" fmla="*/ 6715570 h 6858000"/>
              <a:gd name="connsiteX11" fmla="*/ 2241116 w 6334262"/>
              <a:gd name="connsiteY11" fmla="*/ 6072329 h 6858000"/>
              <a:gd name="connsiteX12" fmla="*/ 3489655 w 6334262"/>
              <a:gd name="connsiteY12" fmla="*/ 4822907 h 6858000"/>
              <a:gd name="connsiteX13" fmla="*/ 3809726 w 6334262"/>
              <a:gd name="connsiteY13" fmla="*/ 4691876 h 6858000"/>
              <a:gd name="connsiteX14" fmla="*/ 6334262 w 6334262"/>
              <a:gd name="connsiteY14" fmla="*/ 3330575 h 6858000"/>
              <a:gd name="connsiteX15" fmla="*/ 6334262 w 6334262"/>
              <a:gd name="connsiteY15" fmla="*/ 4614291 h 6858000"/>
              <a:gd name="connsiteX16" fmla="*/ 5008700 w 6334262"/>
              <a:gd name="connsiteY16" fmla="*/ 5937711 h 6858000"/>
              <a:gd name="connsiteX17" fmla="*/ 4368408 w 6334262"/>
              <a:gd name="connsiteY17" fmla="*/ 5937711 h 6858000"/>
              <a:gd name="connsiteX18" fmla="*/ 4368408 w 6334262"/>
              <a:gd name="connsiteY18" fmla="*/ 5297176 h 6858000"/>
              <a:gd name="connsiteX19" fmla="*/ 4147423 w 6334262"/>
              <a:gd name="connsiteY19" fmla="*/ 3005005 h 6858000"/>
              <a:gd name="connsiteX20" fmla="*/ 4468930 w 6334262"/>
              <a:gd name="connsiteY20" fmla="*/ 3137959 h 6858000"/>
              <a:gd name="connsiteX21" fmla="*/ 4468930 w 6334262"/>
              <a:gd name="connsiteY21" fmla="*/ 3778250 h 6858000"/>
              <a:gd name="connsiteX22" fmla="*/ 1388815 w 6334262"/>
              <a:gd name="connsiteY22" fmla="*/ 6858000 h 6858000"/>
              <a:gd name="connsiteX23" fmla="*/ 1386438 w 6334262"/>
              <a:gd name="connsiteY23" fmla="*/ 6858000 h 6858000"/>
              <a:gd name="connsiteX24" fmla="*/ 1369796 w 6334262"/>
              <a:gd name="connsiteY24" fmla="*/ 6858000 h 6858000"/>
              <a:gd name="connsiteX25" fmla="*/ 1351668 w 6334262"/>
              <a:gd name="connsiteY25" fmla="*/ 6858000 h 6858000"/>
              <a:gd name="connsiteX26" fmla="*/ 1324626 w 6334262"/>
              <a:gd name="connsiteY26" fmla="*/ 6858000 h 6858000"/>
              <a:gd name="connsiteX27" fmla="*/ 1286884 w 6334262"/>
              <a:gd name="connsiteY27" fmla="*/ 6858000 h 6858000"/>
              <a:gd name="connsiteX28" fmla="*/ 1236662 w 6334262"/>
              <a:gd name="connsiteY28" fmla="*/ 6858000 h 6858000"/>
              <a:gd name="connsiteX29" fmla="*/ 1172175 w 6334262"/>
              <a:gd name="connsiteY29" fmla="*/ 6858000 h 6858000"/>
              <a:gd name="connsiteX30" fmla="*/ 1091641 w 6334262"/>
              <a:gd name="connsiteY30" fmla="*/ 6858000 h 6858000"/>
              <a:gd name="connsiteX31" fmla="*/ 993276 w 6334262"/>
              <a:gd name="connsiteY31" fmla="*/ 6858000 h 6858000"/>
              <a:gd name="connsiteX32" fmla="*/ 875297 w 6334262"/>
              <a:gd name="connsiteY32" fmla="*/ 6858000 h 6858000"/>
              <a:gd name="connsiteX33" fmla="*/ 735922 w 6334262"/>
              <a:gd name="connsiteY33" fmla="*/ 6858000 h 6858000"/>
              <a:gd name="connsiteX34" fmla="*/ 573368 w 6334262"/>
              <a:gd name="connsiteY34" fmla="*/ 6858000 h 6858000"/>
              <a:gd name="connsiteX35" fmla="*/ 385850 w 6334262"/>
              <a:gd name="connsiteY35" fmla="*/ 6858000 h 6858000"/>
              <a:gd name="connsiteX36" fmla="*/ 171587 w 6334262"/>
              <a:gd name="connsiteY36" fmla="*/ 6858000 h 6858000"/>
              <a:gd name="connsiteX37" fmla="*/ 280079 w 6334262"/>
              <a:gd name="connsiteY37" fmla="*/ 6683375 h 6858000"/>
              <a:gd name="connsiteX38" fmla="*/ 3825916 w 6334262"/>
              <a:gd name="connsiteY38" fmla="*/ 3137959 h 6858000"/>
              <a:gd name="connsiteX39" fmla="*/ 4147423 w 6334262"/>
              <a:gd name="connsiteY39" fmla="*/ 3005005 h 6858000"/>
              <a:gd name="connsiteX40" fmla="*/ 5753797 w 6334262"/>
              <a:gd name="connsiteY40" fmla="*/ 2747852 h 6858000"/>
              <a:gd name="connsiteX41" fmla="*/ 6075418 w 6334262"/>
              <a:gd name="connsiteY41" fmla="*/ 2880867 h 6858000"/>
              <a:gd name="connsiteX42" fmla="*/ 6075418 w 6334262"/>
              <a:gd name="connsiteY42" fmla="*/ 3524107 h 6858000"/>
              <a:gd name="connsiteX43" fmla="*/ 4825995 w 6334262"/>
              <a:gd name="connsiteY43" fmla="*/ 4773530 h 6858000"/>
              <a:gd name="connsiteX44" fmla="*/ 4182754 w 6334262"/>
              <a:gd name="connsiteY44" fmla="*/ 4773530 h 6858000"/>
              <a:gd name="connsiteX45" fmla="*/ 4182754 w 6334262"/>
              <a:gd name="connsiteY45" fmla="*/ 4130289 h 6858000"/>
              <a:gd name="connsiteX46" fmla="*/ 5432177 w 6334262"/>
              <a:gd name="connsiteY46" fmla="*/ 2880867 h 6858000"/>
              <a:gd name="connsiteX47" fmla="*/ 5753797 w 6334262"/>
              <a:gd name="connsiteY47" fmla="*/ 2747852 h 6858000"/>
              <a:gd name="connsiteX48" fmla="*/ 4256015 w 6334262"/>
              <a:gd name="connsiteY48" fmla="*/ 1544501 h 6858000"/>
              <a:gd name="connsiteX49" fmla="*/ 4577448 w 6334262"/>
              <a:gd name="connsiteY49" fmla="*/ 1677439 h 6858000"/>
              <a:gd name="connsiteX50" fmla="*/ 4577448 w 6334262"/>
              <a:gd name="connsiteY50" fmla="*/ 2317660 h 6858000"/>
              <a:gd name="connsiteX51" fmla="*/ 775805 w 6334262"/>
              <a:gd name="connsiteY51" fmla="*/ 6121949 h 6858000"/>
              <a:gd name="connsiteX52" fmla="*/ 132939 w 6334262"/>
              <a:gd name="connsiteY52" fmla="*/ 6121949 h 6858000"/>
              <a:gd name="connsiteX53" fmla="*/ 132939 w 6334262"/>
              <a:gd name="connsiteY53" fmla="*/ 5479082 h 6858000"/>
              <a:gd name="connsiteX54" fmla="*/ 3934582 w 6334262"/>
              <a:gd name="connsiteY54" fmla="*/ 1677439 h 6858000"/>
              <a:gd name="connsiteX55" fmla="*/ 4256015 w 6334262"/>
              <a:gd name="connsiteY55" fmla="*/ 1544501 h 6858000"/>
              <a:gd name="connsiteX56" fmla="*/ 3595373 w 6334262"/>
              <a:gd name="connsiteY56" fmla="*/ 853935 h 6858000"/>
              <a:gd name="connsiteX57" fmla="*/ 3915470 w 6334262"/>
              <a:gd name="connsiteY57" fmla="*/ 986868 h 6858000"/>
              <a:gd name="connsiteX58" fmla="*/ 3915470 w 6334262"/>
              <a:gd name="connsiteY58" fmla="*/ 1629706 h 6858000"/>
              <a:gd name="connsiteX59" fmla="*/ 1479032 w 6334262"/>
              <a:gd name="connsiteY59" fmla="*/ 4066144 h 6858000"/>
              <a:gd name="connsiteX60" fmla="*/ 836194 w 6334262"/>
              <a:gd name="connsiteY60" fmla="*/ 4066144 h 6858000"/>
              <a:gd name="connsiteX61" fmla="*/ 836194 w 6334262"/>
              <a:gd name="connsiteY61" fmla="*/ 3425951 h 6858000"/>
              <a:gd name="connsiteX62" fmla="*/ 3275276 w 6334262"/>
              <a:gd name="connsiteY62" fmla="*/ 986868 h 6858000"/>
              <a:gd name="connsiteX63" fmla="*/ 3595373 w 6334262"/>
              <a:gd name="connsiteY63" fmla="*/ 853935 h 6858000"/>
              <a:gd name="connsiteX64" fmla="*/ 6334262 w 6334262"/>
              <a:gd name="connsiteY64" fmla="*/ 812799 h 6858000"/>
              <a:gd name="connsiteX65" fmla="*/ 6334262 w 6334262"/>
              <a:gd name="connsiteY65" fmla="*/ 1913228 h 6858000"/>
              <a:gd name="connsiteX66" fmla="*/ 5170406 w 6334262"/>
              <a:gd name="connsiteY66" fmla="*/ 3077142 h 6858000"/>
              <a:gd name="connsiteX67" fmla="*/ 4527640 w 6334262"/>
              <a:gd name="connsiteY67" fmla="*/ 3077142 h 6858000"/>
              <a:gd name="connsiteX68" fmla="*/ 4527640 w 6334262"/>
              <a:gd name="connsiteY68" fmla="*/ 2434344 h 6858000"/>
              <a:gd name="connsiteX69" fmla="*/ 6016847 w 6334262"/>
              <a:gd name="connsiteY69" fmla="*/ 945062 h 6858000"/>
              <a:gd name="connsiteX70" fmla="*/ 6334262 w 6334262"/>
              <a:gd name="connsiteY70" fmla="*/ 812799 h 6858000"/>
              <a:gd name="connsiteX71" fmla="*/ 4280302 w 6334262"/>
              <a:gd name="connsiteY71" fmla="*/ 175418 h 6858000"/>
              <a:gd name="connsiteX72" fmla="*/ 4596479 w 6334262"/>
              <a:gd name="connsiteY72" fmla="*/ 306387 h 6858000"/>
              <a:gd name="connsiteX73" fmla="*/ 4596479 w 6334262"/>
              <a:gd name="connsiteY73" fmla="*/ 941387 h 6858000"/>
              <a:gd name="connsiteX74" fmla="*/ 3964125 w 6334262"/>
              <a:gd name="connsiteY74" fmla="*/ 941387 h 6858000"/>
              <a:gd name="connsiteX75" fmla="*/ 3964125 w 6334262"/>
              <a:gd name="connsiteY75" fmla="*/ 306387 h 6858000"/>
              <a:gd name="connsiteX76" fmla="*/ 4280302 w 6334262"/>
              <a:gd name="connsiteY76" fmla="*/ 175418 h 6858000"/>
              <a:gd name="connsiteX77" fmla="*/ 2910696 w 6334262"/>
              <a:gd name="connsiteY77" fmla="*/ 0 h 6858000"/>
              <a:gd name="connsiteX78" fmla="*/ 2913203 w 6334262"/>
              <a:gd name="connsiteY78" fmla="*/ 0 h 6858000"/>
              <a:gd name="connsiteX79" fmla="*/ 2919157 w 6334262"/>
              <a:gd name="connsiteY79" fmla="*/ 0 h 6858000"/>
              <a:gd name="connsiteX80" fmla="*/ 2930753 w 6334262"/>
              <a:gd name="connsiteY80" fmla="*/ 0 h 6858000"/>
              <a:gd name="connsiteX81" fmla="*/ 2949869 w 6334262"/>
              <a:gd name="connsiteY81" fmla="*/ 0 h 6858000"/>
              <a:gd name="connsiteX82" fmla="*/ 2978387 w 6334262"/>
              <a:gd name="connsiteY82" fmla="*/ 0 h 6858000"/>
              <a:gd name="connsiteX83" fmla="*/ 3018186 w 6334262"/>
              <a:gd name="connsiteY83" fmla="*/ 0 h 6858000"/>
              <a:gd name="connsiteX84" fmla="*/ 3071148 w 6334262"/>
              <a:gd name="connsiteY84" fmla="*/ 0 h 6858000"/>
              <a:gd name="connsiteX85" fmla="*/ 3139152 w 6334262"/>
              <a:gd name="connsiteY85" fmla="*/ 0 h 6858000"/>
              <a:gd name="connsiteX86" fmla="*/ 3224079 w 6334262"/>
              <a:gd name="connsiteY86" fmla="*/ 0 h 6858000"/>
              <a:gd name="connsiteX87" fmla="*/ 3327809 w 6334262"/>
              <a:gd name="connsiteY87" fmla="*/ 0 h 6858000"/>
              <a:gd name="connsiteX88" fmla="*/ 3452222 w 6334262"/>
              <a:gd name="connsiteY88" fmla="*/ 0 h 6858000"/>
              <a:gd name="connsiteX89" fmla="*/ 3599199 w 6334262"/>
              <a:gd name="connsiteY89" fmla="*/ 0 h 6858000"/>
              <a:gd name="connsiteX90" fmla="*/ 3770619 w 6334262"/>
              <a:gd name="connsiteY90" fmla="*/ 0 h 6858000"/>
              <a:gd name="connsiteX91" fmla="*/ 3968364 w 6334262"/>
              <a:gd name="connsiteY91" fmla="*/ 0 h 6858000"/>
              <a:gd name="connsiteX92" fmla="*/ 4077695 w 6334262"/>
              <a:gd name="connsiteY92" fmla="*/ 0 h 6858000"/>
              <a:gd name="connsiteX93" fmla="*/ 4194313 w 6334262"/>
              <a:gd name="connsiteY93" fmla="*/ 0 h 6858000"/>
              <a:gd name="connsiteX94" fmla="*/ 1507981 w 6334262"/>
              <a:gd name="connsiteY94" fmla="*/ 2688167 h 6858000"/>
              <a:gd name="connsiteX95" fmla="*/ 864850 w 6334262"/>
              <a:gd name="connsiteY95" fmla="*/ 2688167 h 6858000"/>
              <a:gd name="connsiteX96" fmla="*/ 864850 w 6334262"/>
              <a:gd name="connsiteY96" fmla="*/ 2045230 h 6858000"/>
              <a:gd name="connsiteX97" fmla="*/ 2910696 w 6334262"/>
              <a:gd name="connsiteY9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6334262" h="6858000">
                <a:moveTo>
                  <a:pt x="4013337" y="5842794"/>
                </a:moveTo>
                <a:cubicBezTo>
                  <a:pt x="4128431" y="5842793"/>
                  <a:pt x="4243525" y="5886450"/>
                  <a:pt x="4330837" y="5973762"/>
                </a:cubicBezTo>
                <a:cubicBezTo>
                  <a:pt x="4505462" y="6151033"/>
                  <a:pt x="4505462" y="6434137"/>
                  <a:pt x="4330837" y="6608762"/>
                </a:cubicBezTo>
                <a:cubicBezTo>
                  <a:pt x="4156212" y="6783387"/>
                  <a:pt x="3870462" y="6783387"/>
                  <a:pt x="3695837" y="6608762"/>
                </a:cubicBezTo>
                <a:cubicBezTo>
                  <a:pt x="3521212" y="6434137"/>
                  <a:pt x="3521212" y="6151033"/>
                  <a:pt x="3695837" y="5973762"/>
                </a:cubicBezTo>
                <a:cubicBezTo>
                  <a:pt x="3783150" y="5886450"/>
                  <a:pt x="3898243" y="5842793"/>
                  <a:pt x="4013337" y="5842794"/>
                </a:cubicBezTo>
                <a:close/>
                <a:moveTo>
                  <a:pt x="3809726" y="4691876"/>
                </a:moveTo>
                <a:cubicBezTo>
                  <a:pt x="3926115" y="4691876"/>
                  <a:pt x="4042504" y="4735553"/>
                  <a:pt x="4129796" y="4822907"/>
                </a:cubicBezTo>
                <a:cubicBezTo>
                  <a:pt x="4307025" y="5000261"/>
                  <a:pt x="4307025" y="5288793"/>
                  <a:pt x="4129796" y="5466147"/>
                </a:cubicBezTo>
                <a:cubicBezTo>
                  <a:pt x="4129796" y="5466147"/>
                  <a:pt x="4129796" y="5466147"/>
                  <a:pt x="2881257" y="6715570"/>
                </a:cubicBezTo>
                <a:cubicBezTo>
                  <a:pt x="2706673" y="6892924"/>
                  <a:pt x="2415700" y="6892924"/>
                  <a:pt x="2241116" y="6715570"/>
                </a:cubicBezTo>
                <a:cubicBezTo>
                  <a:pt x="2063887" y="6538215"/>
                  <a:pt x="2063887" y="6249683"/>
                  <a:pt x="2241116" y="6072329"/>
                </a:cubicBezTo>
                <a:cubicBezTo>
                  <a:pt x="2241116" y="6072329"/>
                  <a:pt x="2241116" y="6072329"/>
                  <a:pt x="3489655" y="4822907"/>
                </a:cubicBezTo>
                <a:cubicBezTo>
                  <a:pt x="3576947" y="4735553"/>
                  <a:pt x="3693336" y="4691876"/>
                  <a:pt x="3809726" y="4691876"/>
                </a:cubicBezTo>
                <a:close/>
                <a:moveTo>
                  <a:pt x="6334262" y="3330575"/>
                </a:moveTo>
                <a:cubicBezTo>
                  <a:pt x="6334262" y="3330575"/>
                  <a:pt x="6334262" y="3330575"/>
                  <a:pt x="6334262" y="4614291"/>
                </a:cubicBezTo>
                <a:cubicBezTo>
                  <a:pt x="6334262" y="4614291"/>
                  <a:pt x="6334262" y="4614291"/>
                  <a:pt x="5008700" y="5937711"/>
                </a:cubicBezTo>
                <a:cubicBezTo>
                  <a:pt x="4834074" y="6115049"/>
                  <a:pt x="4543033" y="6115049"/>
                  <a:pt x="4368408" y="5937711"/>
                </a:cubicBezTo>
                <a:cubicBezTo>
                  <a:pt x="4191137" y="5763019"/>
                  <a:pt x="4191137" y="5474514"/>
                  <a:pt x="4368408" y="5297176"/>
                </a:cubicBezTo>
                <a:close/>
                <a:moveTo>
                  <a:pt x="4147423" y="3005005"/>
                </a:moveTo>
                <a:cubicBezTo>
                  <a:pt x="4263853" y="3005005"/>
                  <a:pt x="4380284" y="3049323"/>
                  <a:pt x="4468930" y="3137959"/>
                </a:cubicBezTo>
                <a:cubicBezTo>
                  <a:pt x="4643575" y="3312583"/>
                  <a:pt x="4643575" y="3603625"/>
                  <a:pt x="4468930" y="3778250"/>
                </a:cubicBezTo>
                <a:cubicBezTo>
                  <a:pt x="4468930" y="3778250"/>
                  <a:pt x="4468930" y="3778250"/>
                  <a:pt x="1388815" y="6858000"/>
                </a:cubicBezTo>
                <a:lnTo>
                  <a:pt x="1386438" y="6858000"/>
                </a:lnTo>
                <a:lnTo>
                  <a:pt x="1369796" y="6858000"/>
                </a:lnTo>
                <a:lnTo>
                  <a:pt x="1351668" y="6858000"/>
                </a:lnTo>
                <a:lnTo>
                  <a:pt x="1324626" y="6858000"/>
                </a:lnTo>
                <a:lnTo>
                  <a:pt x="1286884" y="6858000"/>
                </a:lnTo>
                <a:lnTo>
                  <a:pt x="1236662" y="6858000"/>
                </a:lnTo>
                <a:lnTo>
                  <a:pt x="1172175" y="6858000"/>
                </a:lnTo>
                <a:lnTo>
                  <a:pt x="1091641" y="6858000"/>
                </a:lnTo>
                <a:lnTo>
                  <a:pt x="993276" y="6858000"/>
                </a:lnTo>
                <a:lnTo>
                  <a:pt x="875297" y="6858000"/>
                </a:lnTo>
                <a:lnTo>
                  <a:pt x="735922" y="6858000"/>
                </a:lnTo>
                <a:lnTo>
                  <a:pt x="573368" y="6858000"/>
                </a:lnTo>
                <a:lnTo>
                  <a:pt x="385850" y="6858000"/>
                </a:lnTo>
                <a:lnTo>
                  <a:pt x="171587" y="6858000"/>
                </a:lnTo>
                <a:cubicBezTo>
                  <a:pt x="192756" y="6794500"/>
                  <a:pt x="229802" y="6733646"/>
                  <a:pt x="280079" y="6683375"/>
                </a:cubicBezTo>
                <a:cubicBezTo>
                  <a:pt x="280079" y="6683375"/>
                  <a:pt x="280079" y="6683375"/>
                  <a:pt x="3825916" y="3137959"/>
                </a:cubicBezTo>
                <a:cubicBezTo>
                  <a:pt x="3914562" y="3049323"/>
                  <a:pt x="4030992" y="3005005"/>
                  <a:pt x="4147423" y="3005005"/>
                </a:cubicBezTo>
                <a:close/>
                <a:moveTo>
                  <a:pt x="5753797" y="2747852"/>
                </a:moveTo>
                <a:cubicBezTo>
                  <a:pt x="5870269" y="2747852"/>
                  <a:pt x="5986740" y="2792190"/>
                  <a:pt x="6075418" y="2880867"/>
                </a:cubicBezTo>
                <a:cubicBezTo>
                  <a:pt x="6250125" y="3058222"/>
                  <a:pt x="6250125" y="3346754"/>
                  <a:pt x="6075418" y="3524107"/>
                </a:cubicBezTo>
                <a:cubicBezTo>
                  <a:pt x="6075418" y="3524107"/>
                  <a:pt x="6075418" y="3524107"/>
                  <a:pt x="4825995" y="4773530"/>
                </a:cubicBezTo>
                <a:cubicBezTo>
                  <a:pt x="4648641" y="4948237"/>
                  <a:pt x="4360109" y="4948237"/>
                  <a:pt x="4182754" y="4773530"/>
                </a:cubicBezTo>
                <a:cubicBezTo>
                  <a:pt x="4005400" y="4596175"/>
                  <a:pt x="4005400" y="4307643"/>
                  <a:pt x="4182754" y="4130289"/>
                </a:cubicBezTo>
                <a:cubicBezTo>
                  <a:pt x="4182754" y="4130289"/>
                  <a:pt x="4182754" y="4130289"/>
                  <a:pt x="5432177" y="2880867"/>
                </a:cubicBezTo>
                <a:cubicBezTo>
                  <a:pt x="5520854" y="2792190"/>
                  <a:pt x="5637325" y="2747852"/>
                  <a:pt x="5753797" y="2747852"/>
                </a:cubicBezTo>
                <a:close/>
                <a:moveTo>
                  <a:pt x="4256015" y="1544501"/>
                </a:moveTo>
                <a:cubicBezTo>
                  <a:pt x="4372419" y="1544501"/>
                  <a:pt x="4488823" y="1588814"/>
                  <a:pt x="4577448" y="1677439"/>
                </a:cubicBezTo>
                <a:cubicBezTo>
                  <a:pt x="4754700" y="1854691"/>
                  <a:pt x="4754700" y="2143055"/>
                  <a:pt x="4577448" y="2317660"/>
                </a:cubicBezTo>
                <a:cubicBezTo>
                  <a:pt x="4577448" y="2317660"/>
                  <a:pt x="4577448" y="2317660"/>
                  <a:pt x="775805" y="6121949"/>
                </a:cubicBezTo>
                <a:cubicBezTo>
                  <a:pt x="598554" y="6299200"/>
                  <a:pt x="310190" y="6299200"/>
                  <a:pt x="132939" y="6121949"/>
                </a:cubicBezTo>
                <a:cubicBezTo>
                  <a:pt x="-44313" y="5944698"/>
                  <a:pt x="-44313" y="5656333"/>
                  <a:pt x="132939" y="5479082"/>
                </a:cubicBezTo>
                <a:cubicBezTo>
                  <a:pt x="132939" y="5479082"/>
                  <a:pt x="132939" y="5479082"/>
                  <a:pt x="3934582" y="1677439"/>
                </a:cubicBezTo>
                <a:cubicBezTo>
                  <a:pt x="4023208" y="1588814"/>
                  <a:pt x="4139612" y="1544501"/>
                  <a:pt x="4256015" y="1544501"/>
                </a:cubicBezTo>
                <a:close/>
                <a:moveTo>
                  <a:pt x="3595373" y="853935"/>
                </a:moveTo>
                <a:cubicBezTo>
                  <a:pt x="3711772" y="853935"/>
                  <a:pt x="3828171" y="898246"/>
                  <a:pt x="3915470" y="986868"/>
                </a:cubicBezTo>
                <a:cubicBezTo>
                  <a:pt x="4092713" y="1164111"/>
                  <a:pt x="4092713" y="1452463"/>
                  <a:pt x="3915470" y="1629706"/>
                </a:cubicBezTo>
                <a:cubicBezTo>
                  <a:pt x="3915470" y="1629706"/>
                  <a:pt x="3915470" y="1629706"/>
                  <a:pt x="1479032" y="4066144"/>
                </a:cubicBezTo>
                <a:cubicBezTo>
                  <a:pt x="1301789" y="4243387"/>
                  <a:pt x="1013437" y="4243387"/>
                  <a:pt x="836194" y="4066144"/>
                </a:cubicBezTo>
                <a:cubicBezTo>
                  <a:pt x="658950" y="3891545"/>
                  <a:pt x="658950" y="3603194"/>
                  <a:pt x="836194" y="3425951"/>
                </a:cubicBezTo>
                <a:cubicBezTo>
                  <a:pt x="836194" y="3425951"/>
                  <a:pt x="836194" y="3425951"/>
                  <a:pt x="3275276" y="986868"/>
                </a:cubicBezTo>
                <a:cubicBezTo>
                  <a:pt x="3362575" y="898246"/>
                  <a:pt x="3478974" y="853935"/>
                  <a:pt x="3595373" y="853935"/>
                </a:cubicBezTo>
                <a:close/>
                <a:moveTo>
                  <a:pt x="6334262" y="812799"/>
                </a:moveTo>
                <a:cubicBezTo>
                  <a:pt x="6334262" y="812799"/>
                  <a:pt x="6334262" y="812799"/>
                  <a:pt x="6334262" y="1913228"/>
                </a:cubicBezTo>
                <a:cubicBezTo>
                  <a:pt x="6334262" y="1913228"/>
                  <a:pt x="6334262" y="1913228"/>
                  <a:pt x="5170406" y="3077142"/>
                </a:cubicBezTo>
                <a:cubicBezTo>
                  <a:pt x="4993183" y="3254375"/>
                  <a:pt x="4704864" y="3254375"/>
                  <a:pt x="4527640" y="3077142"/>
                </a:cubicBezTo>
                <a:cubicBezTo>
                  <a:pt x="4353062" y="2899910"/>
                  <a:pt x="4353062" y="2611577"/>
                  <a:pt x="4527640" y="2434344"/>
                </a:cubicBezTo>
                <a:lnTo>
                  <a:pt x="6016847" y="945062"/>
                </a:lnTo>
                <a:cubicBezTo>
                  <a:pt x="6104136" y="857769"/>
                  <a:pt x="6220522" y="815445"/>
                  <a:pt x="6334262" y="812799"/>
                </a:cubicBezTo>
                <a:close/>
                <a:moveTo>
                  <a:pt x="4280302" y="175418"/>
                </a:moveTo>
                <a:cubicBezTo>
                  <a:pt x="4394734" y="175418"/>
                  <a:pt x="4509167" y="219075"/>
                  <a:pt x="4596479" y="306387"/>
                </a:cubicBezTo>
                <a:cubicBezTo>
                  <a:pt x="4773750" y="481012"/>
                  <a:pt x="4773750" y="766762"/>
                  <a:pt x="4596479" y="941387"/>
                </a:cubicBezTo>
                <a:cubicBezTo>
                  <a:pt x="4421854" y="1116012"/>
                  <a:pt x="4138750" y="1116012"/>
                  <a:pt x="3964125" y="941387"/>
                </a:cubicBezTo>
                <a:cubicBezTo>
                  <a:pt x="3789500" y="766762"/>
                  <a:pt x="3789500" y="481012"/>
                  <a:pt x="3964125" y="306387"/>
                </a:cubicBezTo>
                <a:cubicBezTo>
                  <a:pt x="4051438" y="219075"/>
                  <a:pt x="4165870" y="175418"/>
                  <a:pt x="4280302" y="175418"/>
                </a:cubicBezTo>
                <a:close/>
                <a:moveTo>
                  <a:pt x="2910696" y="0"/>
                </a:moveTo>
                <a:lnTo>
                  <a:pt x="2913203" y="0"/>
                </a:lnTo>
                <a:lnTo>
                  <a:pt x="2919157" y="0"/>
                </a:lnTo>
                <a:lnTo>
                  <a:pt x="2930753" y="0"/>
                </a:lnTo>
                <a:lnTo>
                  <a:pt x="2949869" y="0"/>
                </a:lnTo>
                <a:lnTo>
                  <a:pt x="2978387" y="0"/>
                </a:lnTo>
                <a:lnTo>
                  <a:pt x="3018186" y="0"/>
                </a:lnTo>
                <a:lnTo>
                  <a:pt x="3071148" y="0"/>
                </a:lnTo>
                <a:lnTo>
                  <a:pt x="3139152" y="0"/>
                </a:lnTo>
                <a:lnTo>
                  <a:pt x="3224079" y="0"/>
                </a:lnTo>
                <a:lnTo>
                  <a:pt x="3327809" y="0"/>
                </a:lnTo>
                <a:lnTo>
                  <a:pt x="3452222" y="0"/>
                </a:lnTo>
                <a:lnTo>
                  <a:pt x="3599199" y="0"/>
                </a:lnTo>
                <a:lnTo>
                  <a:pt x="3770619" y="0"/>
                </a:lnTo>
                <a:lnTo>
                  <a:pt x="3968364" y="0"/>
                </a:lnTo>
                <a:lnTo>
                  <a:pt x="4077695" y="0"/>
                </a:lnTo>
                <a:lnTo>
                  <a:pt x="4194313" y="0"/>
                </a:lnTo>
                <a:cubicBezTo>
                  <a:pt x="4194313" y="0"/>
                  <a:pt x="4194313" y="0"/>
                  <a:pt x="1507981" y="2688167"/>
                </a:cubicBezTo>
                <a:cubicBezTo>
                  <a:pt x="1330657" y="2865438"/>
                  <a:pt x="1042174" y="2865438"/>
                  <a:pt x="864850" y="2688167"/>
                </a:cubicBezTo>
                <a:cubicBezTo>
                  <a:pt x="687525" y="2510896"/>
                  <a:pt x="687525" y="2222501"/>
                  <a:pt x="864850" y="2045230"/>
                </a:cubicBezTo>
                <a:cubicBezTo>
                  <a:pt x="864850" y="2045230"/>
                  <a:pt x="864850" y="2045230"/>
                  <a:pt x="2910696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832100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FD4295F-BFEF-40BB-96E1-F34FC912306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126163" cy="6858000"/>
          </a:xfrm>
          <a:custGeom>
            <a:avLst/>
            <a:gdLst>
              <a:gd name="connsiteX0" fmla="*/ 4652238 w 6126163"/>
              <a:gd name="connsiteY0" fmla="*/ 1812535 h 6858000"/>
              <a:gd name="connsiteX1" fmla="*/ 5095371 w 6126163"/>
              <a:gd name="connsiteY1" fmla="*/ 1997101 h 6858000"/>
              <a:gd name="connsiteX2" fmla="*/ 5095371 w 6126163"/>
              <a:gd name="connsiteY2" fmla="*/ 2883547 h 6858000"/>
              <a:gd name="connsiteX3" fmla="*/ 1482731 w 6126163"/>
              <a:gd name="connsiteY3" fmla="*/ 6496919 h 6858000"/>
              <a:gd name="connsiteX4" fmla="*/ 1121723 w 6126163"/>
              <a:gd name="connsiteY4" fmla="*/ 6858000 h 6858000"/>
              <a:gd name="connsiteX5" fmla="*/ 0 w 6126163"/>
              <a:gd name="connsiteY5" fmla="*/ 6858000 h 6858000"/>
              <a:gd name="connsiteX6" fmla="*/ 0 w 6126163"/>
              <a:gd name="connsiteY6" fmla="*/ 6856730 h 6858000"/>
              <a:gd name="connsiteX7" fmla="*/ 0 w 6126163"/>
              <a:gd name="connsiteY7" fmla="*/ 6847830 h 6858000"/>
              <a:gd name="connsiteX8" fmla="*/ 0 w 6126163"/>
              <a:gd name="connsiteY8" fmla="*/ 6823674 h 6858000"/>
              <a:gd name="connsiteX9" fmla="*/ 0 w 6126163"/>
              <a:gd name="connsiteY9" fmla="*/ 6776633 h 6858000"/>
              <a:gd name="connsiteX10" fmla="*/ 0 w 6126163"/>
              <a:gd name="connsiteY10" fmla="*/ 6742148 h 6858000"/>
              <a:gd name="connsiteX11" fmla="*/ 0 w 6126163"/>
              <a:gd name="connsiteY11" fmla="*/ 6699080 h 6858000"/>
              <a:gd name="connsiteX12" fmla="*/ 0 w 6126163"/>
              <a:gd name="connsiteY12" fmla="*/ 6646477 h 6858000"/>
              <a:gd name="connsiteX13" fmla="*/ 0 w 6126163"/>
              <a:gd name="connsiteY13" fmla="*/ 6583385 h 6858000"/>
              <a:gd name="connsiteX14" fmla="*/ 0 w 6126163"/>
              <a:gd name="connsiteY14" fmla="*/ 6508851 h 6858000"/>
              <a:gd name="connsiteX15" fmla="*/ 0 w 6126163"/>
              <a:gd name="connsiteY15" fmla="*/ 6421921 h 6858000"/>
              <a:gd name="connsiteX16" fmla="*/ 0 w 6126163"/>
              <a:gd name="connsiteY16" fmla="*/ 6321642 h 6858000"/>
              <a:gd name="connsiteX17" fmla="*/ 0 w 6126163"/>
              <a:gd name="connsiteY17" fmla="*/ 6207059 h 6858000"/>
              <a:gd name="connsiteX18" fmla="*/ 4209104 w 6126163"/>
              <a:gd name="connsiteY18" fmla="*/ 1997101 h 6858000"/>
              <a:gd name="connsiteX19" fmla="*/ 4652238 w 6126163"/>
              <a:gd name="connsiteY19" fmla="*/ 1812535 h 6858000"/>
              <a:gd name="connsiteX20" fmla="*/ 2968625 w 6126163"/>
              <a:gd name="connsiteY20" fmla="*/ 0 h 6858000"/>
              <a:gd name="connsiteX21" fmla="*/ 6126163 w 6126163"/>
              <a:gd name="connsiteY21" fmla="*/ 0 h 6858000"/>
              <a:gd name="connsiteX22" fmla="*/ 0 w 6126163"/>
              <a:gd name="connsiteY22" fmla="*/ 6127750 h 6858000"/>
              <a:gd name="connsiteX23" fmla="*/ 0 w 6126163"/>
              <a:gd name="connsiteY23" fmla="*/ 2968625 h 6858000"/>
              <a:gd name="connsiteX24" fmla="*/ 1129242 w 6126163"/>
              <a:gd name="connsiteY24" fmla="*/ 0 h 6858000"/>
              <a:gd name="connsiteX25" fmla="*/ 1132705 w 6126163"/>
              <a:gd name="connsiteY25" fmla="*/ 0 h 6858000"/>
              <a:gd name="connsiteX26" fmla="*/ 1140928 w 6126163"/>
              <a:gd name="connsiteY26" fmla="*/ 0 h 6858000"/>
              <a:gd name="connsiteX27" fmla="*/ 1156941 w 6126163"/>
              <a:gd name="connsiteY27" fmla="*/ 0 h 6858000"/>
              <a:gd name="connsiteX28" fmla="*/ 1183341 w 6126163"/>
              <a:gd name="connsiteY28" fmla="*/ 0 h 6858000"/>
              <a:gd name="connsiteX29" fmla="*/ 1222725 w 6126163"/>
              <a:gd name="connsiteY29" fmla="*/ 0 h 6858000"/>
              <a:gd name="connsiteX30" fmla="*/ 1277689 w 6126163"/>
              <a:gd name="connsiteY30" fmla="*/ 0 h 6858000"/>
              <a:gd name="connsiteX31" fmla="*/ 1350831 w 6126163"/>
              <a:gd name="connsiteY31" fmla="*/ 0 h 6858000"/>
              <a:gd name="connsiteX32" fmla="*/ 1444746 w 6126163"/>
              <a:gd name="connsiteY32" fmla="*/ 0 h 6858000"/>
              <a:gd name="connsiteX33" fmla="*/ 1562032 w 6126163"/>
              <a:gd name="connsiteY33" fmla="*/ 0 h 6858000"/>
              <a:gd name="connsiteX34" fmla="*/ 1705286 w 6126163"/>
              <a:gd name="connsiteY34" fmla="*/ 0 h 6858000"/>
              <a:gd name="connsiteX35" fmla="*/ 1787462 w 6126163"/>
              <a:gd name="connsiteY35" fmla="*/ 0 h 6858000"/>
              <a:gd name="connsiteX36" fmla="*/ 1877103 w 6126163"/>
              <a:gd name="connsiteY36" fmla="*/ 0 h 6858000"/>
              <a:gd name="connsiteX37" fmla="*/ 1974535 w 6126163"/>
              <a:gd name="connsiteY37" fmla="*/ 0 h 6858000"/>
              <a:gd name="connsiteX38" fmla="*/ 2080082 w 6126163"/>
              <a:gd name="connsiteY38" fmla="*/ 0 h 6858000"/>
              <a:gd name="connsiteX39" fmla="*/ 2194068 w 6126163"/>
              <a:gd name="connsiteY39" fmla="*/ 0 h 6858000"/>
              <a:gd name="connsiteX40" fmla="*/ 2316818 w 6126163"/>
              <a:gd name="connsiteY40" fmla="*/ 0 h 6858000"/>
              <a:gd name="connsiteX41" fmla="*/ 2448657 w 6126163"/>
              <a:gd name="connsiteY41" fmla="*/ 0 h 6858000"/>
              <a:gd name="connsiteX42" fmla="*/ 2589909 w 6126163"/>
              <a:gd name="connsiteY42" fmla="*/ 0 h 6858000"/>
              <a:gd name="connsiteX43" fmla="*/ 2740898 w 6126163"/>
              <a:gd name="connsiteY43" fmla="*/ 0 h 6858000"/>
              <a:gd name="connsiteX44" fmla="*/ 2901950 w 6126163"/>
              <a:gd name="connsiteY44" fmla="*/ 0 h 6858000"/>
              <a:gd name="connsiteX45" fmla="*/ 1176867 w 6126163"/>
              <a:gd name="connsiteY45" fmla="*/ 1728193 h 6858000"/>
              <a:gd name="connsiteX46" fmla="*/ 287867 w 6126163"/>
              <a:gd name="connsiteY46" fmla="*/ 1728193 h 6858000"/>
              <a:gd name="connsiteX47" fmla="*/ 287867 w 6126163"/>
              <a:gd name="connsiteY47" fmla="*/ 841601 h 6858000"/>
              <a:gd name="connsiteX48" fmla="*/ 1129242 w 6126163"/>
              <a:gd name="connsiteY4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126163" h="6858000">
                <a:moveTo>
                  <a:pt x="4652238" y="1812535"/>
                </a:moveTo>
                <a:cubicBezTo>
                  <a:pt x="4812956" y="1812535"/>
                  <a:pt x="4973675" y="1874057"/>
                  <a:pt x="5095371" y="1997101"/>
                </a:cubicBezTo>
                <a:cubicBezTo>
                  <a:pt x="5338763" y="2240543"/>
                  <a:pt x="5338763" y="2637459"/>
                  <a:pt x="5095371" y="2883547"/>
                </a:cubicBezTo>
                <a:cubicBezTo>
                  <a:pt x="5095371" y="2883547"/>
                  <a:pt x="5095371" y="2883547"/>
                  <a:pt x="1482731" y="6496919"/>
                </a:cubicBezTo>
                <a:lnTo>
                  <a:pt x="1121723" y="6858000"/>
                </a:lnTo>
                <a:lnTo>
                  <a:pt x="0" y="6858000"/>
                </a:lnTo>
                <a:lnTo>
                  <a:pt x="0" y="6856730"/>
                </a:lnTo>
                <a:lnTo>
                  <a:pt x="0" y="6847830"/>
                </a:lnTo>
                <a:lnTo>
                  <a:pt x="0" y="6823674"/>
                </a:lnTo>
                <a:lnTo>
                  <a:pt x="0" y="6776633"/>
                </a:lnTo>
                <a:lnTo>
                  <a:pt x="0" y="6742148"/>
                </a:lnTo>
                <a:lnTo>
                  <a:pt x="0" y="6699080"/>
                </a:lnTo>
                <a:lnTo>
                  <a:pt x="0" y="6646477"/>
                </a:lnTo>
                <a:lnTo>
                  <a:pt x="0" y="6583385"/>
                </a:lnTo>
                <a:lnTo>
                  <a:pt x="0" y="6508851"/>
                </a:lnTo>
                <a:lnTo>
                  <a:pt x="0" y="6421921"/>
                </a:lnTo>
                <a:lnTo>
                  <a:pt x="0" y="6321642"/>
                </a:lnTo>
                <a:lnTo>
                  <a:pt x="0" y="6207059"/>
                </a:lnTo>
                <a:cubicBezTo>
                  <a:pt x="0" y="6207059"/>
                  <a:pt x="0" y="6207059"/>
                  <a:pt x="4209104" y="1997101"/>
                </a:cubicBezTo>
                <a:cubicBezTo>
                  <a:pt x="4330800" y="1874057"/>
                  <a:pt x="4491519" y="1812535"/>
                  <a:pt x="4652238" y="1812535"/>
                </a:cubicBezTo>
                <a:close/>
                <a:moveTo>
                  <a:pt x="2968625" y="0"/>
                </a:moveTo>
                <a:lnTo>
                  <a:pt x="6126163" y="0"/>
                </a:lnTo>
                <a:lnTo>
                  <a:pt x="0" y="6127750"/>
                </a:lnTo>
                <a:lnTo>
                  <a:pt x="0" y="2968625"/>
                </a:lnTo>
                <a:close/>
                <a:moveTo>
                  <a:pt x="1129242" y="0"/>
                </a:moveTo>
                <a:lnTo>
                  <a:pt x="1132705" y="0"/>
                </a:lnTo>
                <a:lnTo>
                  <a:pt x="1140928" y="0"/>
                </a:lnTo>
                <a:lnTo>
                  <a:pt x="1156941" y="0"/>
                </a:lnTo>
                <a:lnTo>
                  <a:pt x="1183341" y="0"/>
                </a:lnTo>
                <a:lnTo>
                  <a:pt x="1222725" y="0"/>
                </a:lnTo>
                <a:lnTo>
                  <a:pt x="1277689" y="0"/>
                </a:lnTo>
                <a:lnTo>
                  <a:pt x="1350831" y="0"/>
                </a:lnTo>
                <a:lnTo>
                  <a:pt x="1444746" y="0"/>
                </a:lnTo>
                <a:lnTo>
                  <a:pt x="1562032" y="0"/>
                </a:lnTo>
                <a:lnTo>
                  <a:pt x="1705286" y="0"/>
                </a:lnTo>
                <a:lnTo>
                  <a:pt x="1787462" y="0"/>
                </a:lnTo>
                <a:lnTo>
                  <a:pt x="1877103" y="0"/>
                </a:lnTo>
                <a:lnTo>
                  <a:pt x="1974535" y="0"/>
                </a:lnTo>
                <a:lnTo>
                  <a:pt x="2080082" y="0"/>
                </a:lnTo>
                <a:lnTo>
                  <a:pt x="2194068" y="0"/>
                </a:lnTo>
                <a:lnTo>
                  <a:pt x="2316818" y="0"/>
                </a:lnTo>
                <a:lnTo>
                  <a:pt x="2448657" y="0"/>
                </a:lnTo>
                <a:lnTo>
                  <a:pt x="2589909" y="0"/>
                </a:lnTo>
                <a:lnTo>
                  <a:pt x="2740898" y="0"/>
                </a:lnTo>
                <a:lnTo>
                  <a:pt x="2901950" y="0"/>
                </a:lnTo>
                <a:cubicBezTo>
                  <a:pt x="2901950" y="0"/>
                  <a:pt x="2901950" y="0"/>
                  <a:pt x="1176867" y="1728193"/>
                </a:cubicBezTo>
                <a:cubicBezTo>
                  <a:pt x="930804" y="1971675"/>
                  <a:pt x="533929" y="1971675"/>
                  <a:pt x="287867" y="1728193"/>
                </a:cubicBezTo>
                <a:cubicBezTo>
                  <a:pt x="44450" y="1484711"/>
                  <a:pt x="44450" y="1085083"/>
                  <a:pt x="287867" y="841601"/>
                </a:cubicBezTo>
                <a:cubicBezTo>
                  <a:pt x="287867" y="841601"/>
                  <a:pt x="287867" y="841601"/>
                  <a:pt x="1129242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77C4B3-1DF5-42C4-88D3-7A8FDF1437C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1E827BD4-C372-4180-AA85-8A9DEF2FFB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F2E8CDF-5D20-4D7F-A039-FA664F07CF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98E6AE06-6C45-4DED-9551-699DA73FFB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910A531-85B9-4009-BD82-A503C2912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20" name="Freeform 13">
            <a:extLst>
              <a:ext uri="{FF2B5EF4-FFF2-40B4-BE49-F238E27FC236}">
                <a16:creationId xmlns:a16="http://schemas.microsoft.com/office/drawing/2014/main" id="{FCFE8574-3DDA-44E9-B82B-2F9AA30C2615}"/>
              </a:ext>
            </a:extLst>
          </p:cNvPr>
          <p:cNvSpPr>
            <a:spLocks/>
          </p:cNvSpPr>
          <p:nvPr userDrawn="1"/>
        </p:nvSpPr>
        <p:spPr bwMode="auto">
          <a:xfrm>
            <a:off x="0" y="1666875"/>
            <a:ext cx="455613" cy="1235075"/>
          </a:xfrm>
          <a:custGeom>
            <a:avLst/>
            <a:gdLst>
              <a:gd name="T0" fmla="*/ 80 w 172"/>
              <a:gd name="T1" fmla="*/ 53 h 467"/>
              <a:gd name="T2" fmla="*/ 80 w 172"/>
              <a:gd name="T3" fmla="*/ 53 h 467"/>
              <a:gd name="T4" fmla="*/ 0 w 172"/>
              <a:gd name="T5" fmla="*/ 0 h 467"/>
              <a:gd name="T6" fmla="*/ 0 w 172"/>
              <a:gd name="T7" fmla="*/ 467 h 467"/>
              <a:gd name="T8" fmla="*/ 80 w 172"/>
              <a:gd name="T9" fmla="*/ 388 h 467"/>
              <a:gd name="T10" fmla="*/ 80 w 172"/>
              <a:gd name="T11" fmla="*/ 53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2" h="467">
                <a:moveTo>
                  <a:pt x="80" y="53"/>
                </a:moveTo>
                <a:cubicBezTo>
                  <a:pt x="80" y="53"/>
                  <a:pt x="80" y="53"/>
                  <a:pt x="80" y="53"/>
                </a:cubicBezTo>
                <a:cubicBezTo>
                  <a:pt x="56" y="29"/>
                  <a:pt x="29" y="12"/>
                  <a:pt x="0" y="0"/>
                </a:cubicBezTo>
                <a:cubicBezTo>
                  <a:pt x="0" y="467"/>
                  <a:pt x="0" y="467"/>
                  <a:pt x="0" y="467"/>
                </a:cubicBezTo>
                <a:cubicBezTo>
                  <a:pt x="80" y="388"/>
                  <a:pt x="80" y="388"/>
                  <a:pt x="80" y="388"/>
                </a:cubicBezTo>
                <a:cubicBezTo>
                  <a:pt x="172" y="295"/>
                  <a:pt x="172" y="145"/>
                  <a:pt x="80" y="53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EBE5F009-828D-4CEF-96D5-43F75AD903F9}"/>
              </a:ext>
            </a:extLst>
          </p:cNvPr>
          <p:cNvSpPr>
            <a:spLocks/>
          </p:cNvSpPr>
          <p:nvPr userDrawn="1"/>
        </p:nvSpPr>
        <p:spPr bwMode="auto">
          <a:xfrm>
            <a:off x="4938713" y="0"/>
            <a:ext cx="3021013" cy="2154238"/>
          </a:xfrm>
          <a:custGeom>
            <a:avLst/>
            <a:gdLst>
              <a:gd name="T0" fmla="*/ 92 w 1142"/>
              <a:gd name="T1" fmla="*/ 722 h 814"/>
              <a:gd name="T2" fmla="*/ 92 w 1142"/>
              <a:gd name="T3" fmla="*/ 722 h 814"/>
              <a:gd name="T4" fmla="*/ 427 w 1142"/>
              <a:gd name="T5" fmla="*/ 722 h 814"/>
              <a:gd name="T6" fmla="*/ 1111 w 1142"/>
              <a:gd name="T7" fmla="*/ 38 h 814"/>
              <a:gd name="T8" fmla="*/ 1142 w 1142"/>
              <a:gd name="T9" fmla="*/ 0 h 814"/>
              <a:gd name="T10" fmla="*/ 479 w 1142"/>
              <a:gd name="T11" fmla="*/ 0 h 814"/>
              <a:gd name="T12" fmla="*/ 92 w 1142"/>
              <a:gd name="T13" fmla="*/ 387 h 814"/>
              <a:gd name="T14" fmla="*/ 92 w 1142"/>
              <a:gd name="T15" fmla="*/ 722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42" h="814">
                <a:moveTo>
                  <a:pt x="92" y="722"/>
                </a:moveTo>
                <a:cubicBezTo>
                  <a:pt x="92" y="722"/>
                  <a:pt x="92" y="722"/>
                  <a:pt x="92" y="722"/>
                </a:cubicBezTo>
                <a:cubicBezTo>
                  <a:pt x="184" y="814"/>
                  <a:pt x="335" y="814"/>
                  <a:pt x="427" y="722"/>
                </a:cubicBezTo>
                <a:cubicBezTo>
                  <a:pt x="1111" y="38"/>
                  <a:pt x="1111" y="38"/>
                  <a:pt x="1111" y="38"/>
                </a:cubicBezTo>
                <a:cubicBezTo>
                  <a:pt x="1123" y="26"/>
                  <a:pt x="1133" y="13"/>
                  <a:pt x="1142" y="0"/>
                </a:cubicBezTo>
                <a:cubicBezTo>
                  <a:pt x="479" y="0"/>
                  <a:pt x="479" y="0"/>
                  <a:pt x="479" y="0"/>
                </a:cubicBezTo>
                <a:cubicBezTo>
                  <a:pt x="92" y="387"/>
                  <a:pt x="92" y="387"/>
                  <a:pt x="92" y="387"/>
                </a:cubicBezTo>
                <a:cubicBezTo>
                  <a:pt x="0" y="479"/>
                  <a:pt x="0" y="630"/>
                  <a:pt x="92" y="722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002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g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CD4BCDB-D5A1-4262-8420-612F707BF2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8658" y="0"/>
            <a:ext cx="7420167" cy="6185064"/>
          </a:xfrm>
          <a:custGeom>
            <a:avLst/>
            <a:gdLst>
              <a:gd name="connsiteX0" fmla="*/ 880919 w 7420167"/>
              <a:gd name="connsiteY0" fmla="*/ 0 h 6185064"/>
              <a:gd name="connsiteX1" fmla="*/ 7420167 w 7420167"/>
              <a:gd name="connsiteY1" fmla="*/ 0 h 6185064"/>
              <a:gd name="connsiteX2" fmla="*/ 7420167 w 7420167"/>
              <a:gd name="connsiteY2" fmla="*/ 4066168 h 6185064"/>
              <a:gd name="connsiteX3" fmla="*/ 5539556 w 7420167"/>
              <a:gd name="connsiteY3" fmla="*/ 5947431 h 6185064"/>
              <a:gd name="connsiteX4" fmla="*/ 4384794 w 7420167"/>
              <a:gd name="connsiteY4" fmla="*/ 5947431 h 6185064"/>
              <a:gd name="connsiteX5" fmla="*/ 237552 w 7420167"/>
              <a:gd name="connsiteY5" fmla="*/ 1798751 h 6185064"/>
              <a:gd name="connsiteX6" fmla="*/ 237552 w 7420167"/>
              <a:gd name="connsiteY6" fmla="*/ 643590 h 6185064"/>
              <a:gd name="connsiteX7" fmla="*/ 880919 w 7420167"/>
              <a:gd name="connsiteY7" fmla="*/ 0 h 618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0167" h="6185064">
                <a:moveTo>
                  <a:pt x="880919" y="0"/>
                </a:moveTo>
                <a:lnTo>
                  <a:pt x="7420167" y="0"/>
                </a:lnTo>
                <a:cubicBezTo>
                  <a:pt x="7420167" y="0"/>
                  <a:pt x="7420167" y="0"/>
                  <a:pt x="7420167" y="4066168"/>
                </a:cubicBezTo>
                <a:cubicBezTo>
                  <a:pt x="7420167" y="4066168"/>
                  <a:pt x="7420167" y="4066168"/>
                  <a:pt x="5539556" y="5947431"/>
                </a:cubicBezTo>
                <a:cubicBezTo>
                  <a:pt x="5222821" y="6264275"/>
                  <a:pt x="4701529" y="6264275"/>
                  <a:pt x="4384794" y="5947431"/>
                </a:cubicBezTo>
                <a:cubicBezTo>
                  <a:pt x="4384794" y="5947431"/>
                  <a:pt x="4384794" y="5947431"/>
                  <a:pt x="237552" y="1798751"/>
                </a:cubicBezTo>
                <a:cubicBezTo>
                  <a:pt x="-79183" y="1478607"/>
                  <a:pt x="-79183" y="960434"/>
                  <a:pt x="237552" y="643590"/>
                </a:cubicBezTo>
                <a:cubicBezTo>
                  <a:pt x="237552" y="643590"/>
                  <a:pt x="237552" y="643590"/>
                  <a:pt x="880919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3373900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47C2730-F629-4D6E-BE5B-C2E55D631223}"/>
              </a:ext>
            </a:extLst>
          </p:cNvPr>
          <p:cNvSpPr>
            <a:spLocks/>
          </p:cNvSpPr>
          <p:nvPr userDrawn="1"/>
        </p:nvSpPr>
        <p:spPr bwMode="auto">
          <a:xfrm>
            <a:off x="9337675" y="0"/>
            <a:ext cx="2857500" cy="2717800"/>
          </a:xfrm>
          <a:custGeom>
            <a:avLst/>
            <a:gdLst>
              <a:gd name="T0" fmla="*/ 445 w 1080"/>
              <a:gd name="T1" fmla="*/ 0 h 1027"/>
              <a:gd name="T2" fmla="*/ 160 w 1080"/>
              <a:gd name="T3" fmla="*/ 285 h 1027"/>
              <a:gd name="T4" fmla="*/ 160 w 1080"/>
              <a:gd name="T5" fmla="*/ 867 h 1027"/>
              <a:gd name="T6" fmla="*/ 742 w 1080"/>
              <a:gd name="T7" fmla="*/ 867 h 1027"/>
              <a:gd name="T8" fmla="*/ 1080 w 1080"/>
              <a:gd name="T9" fmla="*/ 529 h 1027"/>
              <a:gd name="T10" fmla="*/ 1080 w 1080"/>
              <a:gd name="T11" fmla="*/ 0 h 1027"/>
              <a:gd name="T12" fmla="*/ 445 w 1080"/>
              <a:gd name="T13" fmla="*/ 0 h 1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80" h="1027">
                <a:moveTo>
                  <a:pt x="445" y="0"/>
                </a:moveTo>
                <a:cubicBezTo>
                  <a:pt x="160" y="285"/>
                  <a:pt x="160" y="285"/>
                  <a:pt x="160" y="285"/>
                </a:cubicBezTo>
                <a:cubicBezTo>
                  <a:pt x="0" y="445"/>
                  <a:pt x="0" y="707"/>
                  <a:pt x="160" y="867"/>
                </a:cubicBezTo>
                <a:cubicBezTo>
                  <a:pt x="320" y="1027"/>
                  <a:pt x="582" y="1027"/>
                  <a:pt x="742" y="867"/>
                </a:cubicBezTo>
                <a:cubicBezTo>
                  <a:pt x="1080" y="529"/>
                  <a:pt x="1080" y="529"/>
                  <a:pt x="1080" y="529"/>
                </a:cubicBezTo>
                <a:cubicBezTo>
                  <a:pt x="1080" y="0"/>
                  <a:pt x="1080" y="0"/>
                  <a:pt x="1080" y="0"/>
                </a:cubicBezTo>
                <a:lnTo>
                  <a:pt x="445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4927313-E453-46DB-8A00-AE661AA4C1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081589" y="1257474"/>
            <a:ext cx="7110411" cy="5600527"/>
          </a:xfrm>
          <a:custGeom>
            <a:avLst/>
            <a:gdLst>
              <a:gd name="connsiteX0" fmla="*/ 6435987 w 7110411"/>
              <a:gd name="connsiteY0" fmla="*/ 200 h 5600527"/>
              <a:gd name="connsiteX1" fmla="*/ 6981741 w 7110411"/>
              <a:gd name="connsiteY1" fmla="*/ 85856 h 5600527"/>
              <a:gd name="connsiteX2" fmla="*/ 7110411 w 7110411"/>
              <a:gd name="connsiteY2" fmla="*/ 130489 h 5600527"/>
              <a:gd name="connsiteX3" fmla="*/ 7110411 w 7110411"/>
              <a:gd name="connsiteY3" fmla="*/ 3976517 h 5600527"/>
              <a:gd name="connsiteX4" fmla="*/ 7110409 w 7110411"/>
              <a:gd name="connsiteY4" fmla="*/ 3976518 h 5600527"/>
              <a:gd name="connsiteX5" fmla="*/ 5634450 w 7110411"/>
              <a:gd name="connsiteY5" fmla="*/ 5452697 h 5600527"/>
              <a:gd name="connsiteX6" fmla="*/ 5486642 w 7110411"/>
              <a:gd name="connsiteY6" fmla="*/ 5600527 h 5600527"/>
              <a:gd name="connsiteX7" fmla="*/ 0 w 7110411"/>
              <a:gd name="connsiteY7" fmla="*/ 5600527 h 5600527"/>
              <a:gd name="connsiteX8" fmla="*/ 1228 w 7110411"/>
              <a:gd name="connsiteY8" fmla="*/ 5599299 h 5600527"/>
              <a:gd name="connsiteX9" fmla="*/ 5034271 w 7110411"/>
              <a:gd name="connsiteY9" fmla="*/ 565507 h 5600527"/>
              <a:gd name="connsiteX10" fmla="*/ 6435987 w 7110411"/>
              <a:gd name="connsiteY10" fmla="*/ 200 h 5600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10411" h="5600527">
                <a:moveTo>
                  <a:pt x="6435987" y="200"/>
                </a:moveTo>
                <a:cubicBezTo>
                  <a:pt x="6620272" y="2827"/>
                  <a:pt x="6804215" y="31366"/>
                  <a:pt x="6981741" y="85856"/>
                </a:cubicBezTo>
                <a:lnTo>
                  <a:pt x="7110411" y="130489"/>
                </a:lnTo>
                <a:lnTo>
                  <a:pt x="7110411" y="3976517"/>
                </a:lnTo>
                <a:lnTo>
                  <a:pt x="7110409" y="3976518"/>
                </a:lnTo>
                <a:cubicBezTo>
                  <a:pt x="7088960" y="3997971"/>
                  <a:pt x="6922731" y="4164225"/>
                  <a:pt x="5634450" y="5452697"/>
                </a:cubicBezTo>
                <a:lnTo>
                  <a:pt x="5486642" y="5600527"/>
                </a:lnTo>
                <a:lnTo>
                  <a:pt x="0" y="5600527"/>
                </a:lnTo>
                <a:lnTo>
                  <a:pt x="1228" y="5599299"/>
                </a:lnTo>
                <a:cubicBezTo>
                  <a:pt x="19664" y="5580860"/>
                  <a:pt x="314641" y="5285839"/>
                  <a:pt x="5034271" y="565507"/>
                </a:cubicBezTo>
                <a:cubicBezTo>
                  <a:pt x="5419844" y="181696"/>
                  <a:pt x="5929205" y="-7027"/>
                  <a:pt x="6435987" y="2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53B87BA2-34D6-4B9D-A0FF-47B82811DE0E}"/>
              </a:ext>
            </a:extLst>
          </p:cNvPr>
          <p:cNvSpPr>
            <a:spLocks/>
          </p:cNvSpPr>
          <p:nvPr userDrawn="1"/>
        </p:nvSpPr>
        <p:spPr bwMode="auto">
          <a:xfrm>
            <a:off x="3657600" y="1952625"/>
            <a:ext cx="6442075" cy="4905375"/>
          </a:xfrm>
          <a:custGeom>
            <a:avLst/>
            <a:gdLst>
              <a:gd name="T0" fmla="*/ 2275 w 2435"/>
              <a:gd name="T1" fmla="*/ 160 h 1854"/>
              <a:gd name="T2" fmla="*/ 2275 w 2435"/>
              <a:gd name="T3" fmla="*/ 160 h 1854"/>
              <a:gd name="T4" fmla="*/ 1694 w 2435"/>
              <a:gd name="T5" fmla="*/ 160 h 1854"/>
              <a:gd name="T6" fmla="*/ 11 w 2435"/>
              <a:gd name="T7" fmla="*/ 1843 h 1854"/>
              <a:gd name="T8" fmla="*/ 0 w 2435"/>
              <a:gd name="T9" fmla="*/ 1854 h 1854"/>
              <a:gd name="T10" fmla="*/ 1164 w 2435"/>
              <a:gd name="T11" fmla="*/ 1854 h 1854"/>
              <a:gd name="T12" fmla="*/ 2275 w 2435"/>
              <a:gd name="T13" fmla="*/ 742 h 1854"/>
              <a:gd name="T14" fmla="*/ 2275 w 2435"/>
              <a:gd name="T15" fmla="*/ 160 h 18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35" h="1854">
                <a:moveTo>
                  <a:pt x="2275" y="160"/>
                </a:moveTo>
                <a:cubicBezTo>
                  <a:pt x="2275" y="160"/>
                  <a:pt x="2275" y="160"/>
                  <a:pt x="2275" y="160"/>
                </a:cubicBezTo>
                <a:cubicBezTo>
                  <a:pt x="2115" y="0"/>
                  <a:pt x="1854" y="0"/>
                  <a:pt x="1694" y="160"/>
                </a:cubicBezTo>
                <a:cubicBezTo>
                  <a:pt x="11" y="1843"/>
                  <a:pt x="11" y="1843"/>
                  <a:pt x="11" y="1843"/>
                </a:cubicBezTo>
                <a:cubicBezTo>
                  <a:pt x="7" y="1847"/>
                  <a:pt x="4" y="1850"/>
                  <a:pt x="0" y="1854"/>
                </a:cubicBezTo>
                <a:cubicBezTo>
                  <a:pt x="1164" y="1854"/>
                  <a:pt x="1164" y="1854"/>
                  <a:pt x="1164" y="1854"/>
                </a:cubicBezTo>
                <a:cubicBezTo>
                  <a:pt x="2275" y="742"/>
                  <a:pt x="2275" y="742"/>
                  <a:pt x="2275" y="742"/>
                </a:cubicBezTo>
                <a:cubicBezTo>
                  <a:pt x="2435" y="582"/>
                  <a:pt x="2435" y="320"/>
                  <a:pt x="2275" y="16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47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2.2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  <p:sldLayoutId id="2147484246" r:id="rId18"/>
    <p:sldLayoutId id="2147484247" r:id="rId19"/>
    <p:sldLayoutId id="2147484248" r:id="rId20"/>
    <p:sldLayoutId id="2147484249" r:id="rId21"/>
    <p:sldLayoutId id="2147484250" r:id="rId22"/>
    <p:sldLayoutId id="2147484251" r:id="rId23"/>
    <p:sldLayoutId id="2147484252" r:id="rId24"/>
    <p:sldLayoutId id="2147484253" r:id="rId25"/>
    <p:sldLayoutId id="2147484254" r:id="rId26"/>
    <p:sldLayoutId id="2147484255" r:id="rId27"/>
    <p:sldLayoutId id="2147484256" r:id="rId28"/>
    <p:sldLayoutId id="2147484257" r:id="rId29"/>
    <p:sldLayoutId id="2147484261" r:id="rId30"/>
    <p:sldLayoutId id="2147484268" r:id="rId31"/>
    <p:sldLayoutId id="2147484269" r:id="rId32"/>
    <p:sldLayoutId id="2147484270" r:id="rId33"/>
    <p:sldLayoutId id="2147484271" r:id="rId34"/>
    <p:sldLayoutId id="2147484272" r:id="rId35"/>
    <p:sldLayoutId id="2147484258" r:id="rId36"/>
    <p:sldLayoutId id="2147484259" r:id="rId37"/>
    <p:sldLayoutId id="2147484260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Phil.cuff@iqvia.co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0.png"/><Relationship Id="rId4" Type="http://schemas.openxmlformats.org/officeDocument/2006/relationships/hyperlink" Target="mailto:Garrett.Brennan@iqvia.com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376F5B47-E5E5-444D-B64A-CD865ED93B4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7661" r="7661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F75B33-7012-4681-90E6-AFA54C212D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rketing Operations Toolbox and Marketer Dashboar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2911826-BCC1-439E-A40E-C01B9B6FC6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rketing Opera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05552D1-EC58-405F-9E97-7E338409D5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hil Cuff</a:t>
            </a:r>
          </a:p>
          <a:p>
            <a:r>
              <a:rPr lang="en-US" dirty="0"/>
              <a:t>8</a:t>
            </a:r>
            <a:r>
              <a:rPr lang="en-US" baseline="30000" dirty="0"/>
              <a:t>th</a:t>
            </a:r>
            <a:r>
              <a:rPr lang="en-US" dirty="0"/>
              <a:t> November 202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1D1B6FC-28A9-95B5-C9A8-19C82CB5E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er Dashboar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07F8BF-15B1-914C-A3B9-4E9AA955A8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CB8766-6C47-0194-7E4E-008CA53EA7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2058" y="1152994"/>
            <a:ext cx="5679282" cy="5144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5405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AF6FB5-8FAA-DE50-9D26-35F0ED25541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85111" y="3007570"/>
            <a:ext cx="11338560" cy="3257916"/>
          </a:xfrm>
        </p:spPr>
        <p:txBody>
          <a:bodyPr/>
          <a:lstStyle/>
          <a:p>
            <a:r>
              <a:rPr lang="en-GB" dirty="0"/>
              <a:t>We have run a Proof of Concept (POC) with website requests over the last few month</a:t>
            </a:r>
          </a:p>
          <a:p>
            <a:pPr lvl="1"/>
            <a:r>
              <a:rPr lang="en-GB" dirty="0"/>
              <a:t>It has proven successful and marketer feedback has been positive:</a:t>
            </a:r>
          </a:p>
          <a:p>
            <a:pPr marL="365760" lvl="2" indent="0">
              <a:buNone/>
            </a:pPr>
            <a:r>
              <a:rPr lang="en-GB" dirty="0">
                <a:solidFill>
                  <a:srgbClr val="00B050"/>
                </a:solidFill>
              </a:rPr>
              <a:t>“I love the layout and functionality of the Marketer Dashboard. I can see everything in one spot...”</a:t>
            </a:r>
          </a:p>
          <a:p>
            <a:pPr marL="365760" lvl="2" indent="0">
              <a:buNone/>
            </a:pPr>
            <a:r>
              <a:rPr lang="en-GB" dirty="0">
                <a:solidFill>
                  <a:srgbClr val="00B050"/>
                </a:solidFill>
              </a:rPr>
              <a:t>“I like working with the new Dashboard. I find it more efficient…”</a:t>
            </a:r>
          </a:p>
          <a:p>
            <a:pPr marL="365760" lvl="2" indent="0">
              <a:buNone/>
            </a:pPr>
            <a:endParaRPr lang="en-GB" dirty="0">
              <a:solidFill>
                <a:srgbClr val="00B050"/>
              </a:solidFill>
            </a:endParaRPr>
          </a:p>
          <a:p>
            <a:r>
              <a:rPr lang="en-GB" dirty="0"/>
              <a:t>The Dashboard is on </a:t>
            </a:r>
            <a:r>
              <a:rPr lang="en-GB" dirty="0" err="1"/>
              <a:t>SmartSheet</a:t>
            </a:r>
            <a:r>
              <a:rPr lang="en-GB" dirty="0"/>
              <a:t> so marketers will need to sign in for access, but IQVIA uses SSO so you should not need to enter any credentials</a:t>
            </a:r>
          </a:p>
          <a:p>
            <a:endParaRPr lang="en-GB" dirty="0"/>
          </a:p>
          <a:p>
            <a:r>
              <a:rPr lang="en-GB" dirty="0"/>
              <a:t>All alerts that are sent from </a:t>
            </a:r>
            <a:r>
              <a:rPr lang="en-GB" dirty="0" err="1"/>
              <a:t>SmartSheet</a:t>
            </a:r>
            <a:r>
              <a:rPr lang="en-GB" dirty="0"/>
              <a:t> to the marketer will contain a link to their dynamic dashboard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499727-C7D3-7987-3E75-98780CE660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View and manage all your active requests in single location 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A9F945-D9FF-27D3-2F9E-D5AEF6632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er Dashboard introduc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6AF206-E245-7B51-9E17-48CAFFF58D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6762" y="1503257"/>
            <a:ext cx="6651030" cy="11850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A697FB-0FBD-6EA8-7B9C-90B3BC434A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640" y="1660609"/>
            <a:ext cx="2610970" cy="870324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592D35AC-C976-2372-FACC-E13A236D28E8}"/>
              </a:ext>
            </a:extLst>
          </p:cNvPr>
          <p:cNvSpPr/>
          <p:nvPr/>
        </p:nvSpPr>
        <p:spPr>
          <a:xfrm>
            <a:off x="3546191" y="1831928"/>
            <a:ext cx="785237" cy="40644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600" err="1"/>
          </a:p>
        </p:txBody>
      </p:sp>
    </p:spTree>
    <p:extLst>
      <p:ext uri="{BB962C8B-B14F-4D97-AF65-F5344CB8AC3E}">
        <p14:creationId xmlns:p14="http://schemas.microsoft.com/office/powerpoint/2010/main" val="237350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839DDB-B770-7F5F-A6BE-8147C80D8C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/>
              <a:t>https://secure.constellation.iqvia.com/MarketingAutomationToolbo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D69F31-BF85-614E-9D06-00989F09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minders and Next Step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53AA08-F1D5-EC49-97EC-8A66AE278B3F}"/>
              </a:ext>
            </a:extLst>
          </p:cNvPr>
          <p:cNvSpPr/>
          <p:nvPr/>
        </p:nvSpPr>
        <p:spPr>
          <a:xfrm>
            <a:off x="365082" y="1917988"/>
            <a:ext cx="4015926" cy="4284215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tlCol="0" anchor="t" anchorCtr="0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accent3"/>
                </a:solidFill>
              </a:rPr>
              <a:t>Target Go Live – Week of Nov. 13</a:t>
            </a:r>
          </a:p>
          <a:p>
            <a:pPr lvl="1">
              <a:spcAft>
                <a:spcPts val="600"/>
              </a:spcAft>
            </a:pPr>
            <a:endParaRPr lang="en-GB" sz="16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As always feel free to share feedback and suggestions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  <a:hlinkClick r:id="rId3"/>
              </a:rPr>
              <a:t>Phil.Cuff@iqvia.com</a:t>
            </a:r>
            <a:endParaRPr lang="en-GB" sz="1600" dirty="0">
              <a:solidFill>
                <a:srgbClr val="000000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  <a:hlinkClick r:id="rId4"/>
              </a:rPr>
              <a:t>Garrett.Brennan@iqvia.com</a:t>
            </a:r>
            <a:endParaRPr lang="en-GB" sz="1600" dirty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000000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4270DD-3D80-8448-B6B2-192F2A8E6898}"/>
              </a:ext>
            </a:extLst>
          </p:cNvPr>
          <p:cNvGrpSpPr/>
          <p:nvPr/>
        </p:nvGrpSpPr>
        <p:grpSpPr>
          <a:xfrm>
            <a:off x="4383873" y="1942200"/>
            <a:ext cx="852005" cy="4260003"/>
            <a:chOff x="3959463" y="1519851"/>
            <a:chExt cx="1408608" cy="44642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DB7DD9F-931C-D44E-848F-7B35943478B7}"/>
                </a:ext>
              </a:extLst>
            </p:cNvPr>
            <p:cNvSpPr/>
            <p:nvPr/>
          </p:nvSpPr>
          <p:spPr>
            <a:xfrm rot="10800000">
              <a:off x="3959463" y="1519851"/>
              <a:ext cx="659174" cy="4464200"/>
            </a:xfrm>
            <a:custGeom>
              <a:avLst/>
              <a:gdLst>
                <a:gd name="connsiteX0" fmla="*/ 0 w 1541806"/>
                <a:gd name="connsiteY0" fmla="*/ 770903 h 4645573"/>
                <a:gd name="connsiteX1" fmla="*/ 770903 w 1541806"/>
                <a:gd name="connsiteY1" fmla="*/ 0 h 4645573"/>
                <a:gd name="connsiteX2" fmla="*/ 770903 w 1541806"/>
                <a:gd name="connsiteY2" fmla="*/ 0 h 4645573"/>
                <a:gd name="connsiteX3" fmla="*/ 1541806 w 1541806"/>
                <a:gd name="connsiteY3" fmla="*/ 770903 h 4645573"/>
                <a:gd name="connsiteX4" fmla="*/ 1541806 w 1541806"/>
                <a:gd name="connsiteY4" fmla="*/ 3874670 h 4645573"/>
                <a:gd name="connsiteX5" fmla="*/ 770903 w 1541806"/>
                <a:gd name="connsiteY5" fmla="*/ 4645573 h 4645573"/>
                <a:gd name="connsiteX6" fmla="*/ 770903 w 1541806"/>
                <a:gd name="connsiteY6" fmla="*/ 4645573 h 4645573"/>
                <a:gd name="connsiteX7" fmla="*/ 0 w 1541806"/>
                <a:gd name="connsiteY7" fmla="*/ 3874670 h 4645573"/>
                <a:gd name="connsiteX8" fmla="*/ 0 w 1541806"/>
                <a:gd name="connsiteY8" fmla="*/ 770903 h 4645573"/>
                <a:gd name="connsiteX0" fmla="*/ 1541806 w 1633246"/>
                <a:gd name="connsiteY0" fmla="*/ 770903 h 4645573"/>
                <a:gd name="connsiteX1" fmla="*/ 1541806 w 1633246"/>
                <a:gd name="connsiteY1" fmla="*/ 3874670 h 4645573"/>
                <a:gd name="connsiteX2" fmla="*/ 770903 w 1633246"/>
                <a:gd name="connsiteY2" fmla="*/ 4645573 h 4645573"/>
                <a:gd name="connsiteX3" fmla="*/ 770903 w 1633246"/>
                <a:gd name="connsiteY3" fmla="*/ 4645573 h 4645573"/>
                <a:gd name="connsiteX4" fmla="*/ 0 w 1633246"/>
                <a:gd name="connsiteY4" fmla="*/ 3874670 h 4645573"/>
                <a:gd name="connsiteX5" fmla="*/ 0 w 1633246"/>
                <a:gd name="connsiteY5" fmla="*/ 770903 h 4645573"/>
                <a:gd name="connsiteX6" fmla="*/ 770903 w 1633246"/>
                <a:gd name="connsiteY6" fmla="*/ 0 h 4645573"/>
                <a:gd name="connsiteX7" fmla="*/ 770903 w 1633246"/>
                <a:gd name="connsiteY7" fmla="*/ 0 h 4645573"/>
                <a:gd name="connsiteX8" fmla="*/ 1633246 w 1633246"/>
                <a:gd name="connsiteY8" fmla="*/ 862343 h 4645573"/>
                <a:gd name="connsiteX0" fmla="*/ 1541806 w 1541806"/>
                <a:gd name="connsiteY0" fmla="*/ 770903 h 4645573"/>
                <a:gd name="connsiteX1" fmla="*/ 1541806 w 1541806"/>
                <a:gd name="connsiteY1" fmla="*/ 3874670 h 4645573"/>
                <a:gd name="connsiteX2" fmla="*/ 770903 w 1541806"/>
                <a:gd name="connsiteY2" fmla="*/ 4645573 h 4645573"/>
                <a:gd name="connsiteX3" fmla="*/ 770903 w 1541806"/>
                <a:gd name="connsiteY3" fmla="*/ 4645573 h 4645573"/>
                <a:gd name="connsiteX4" fmla="*/ 0 w 1541806"/>
                <a:gd name="connsiteY4" fmla="*/ 3874670 h 4645573"/>
                <a:gd name="connsiteX5" fmla="*/ 0 w 1541806"/>
                <a:gd name="connsiteY5" fmla="*/ 770903 h 4645573"/>
                <a:gd name="connsiteX6" fmla="*/ 770903 w 1541806"/>
                <a:gd name="connsiteY6" fmla="*/ 0 h 4645573"/>
                <a:gd name="connsiteX7" fmla="*/ 770903 w 1541806"/>
                <a:gd name="connsiteY7" fmla="*/ 0 h 4645573"/>
                <a:gd name="connsiteX0" fmla="*/ 1541806 w 1541806"/>
                <a:gd name="connsiteY0" fmla="*/ 3874670 h 4645573"/>
                <a:gd name="connsiteX1" fmla="*/ 770903 w 1541806"/>
                <a:gd name="connsiteY1" fmla="*/ 4645573 h 4645573"/>
                <a:gd name="connsiteX2" fmla="*/ 770903 w 1541806"/>
                <a:gd name="connsiteY2" fmla="*/ 4645573 h 4645573"/>
                <a:gd name="connsiteX3" fmla="*/ 0 w 1541806"/>
                <a:gd name="connsiteY3" fmla="*/ 3874670 h 4645573"/>
                <a:gd name="connsiteX4" fmla="*/ 0 w 1541806"/>
                <a:gd name="connsiteY4" fmla="*/ 770903 h 4645573"/>
                <a:gd name="connsiteX5" fmla="*/ 770903 w 1541806"/>
                <a:gd name="connsiteY5" fmla="*/ 0 h 4645573"/>
                <a:gd name="connsiteX6" fmla="*/ 770903 w 1541806"/>
                <a:gd name="connsiteY6" fmla="*/ 0 h 4645573"/>
                <a:gd name="connsiteX0" fmla="*/ 770903 w 770903"/>
                <a:gd name="connsiteY0" fmla="*/ 4645573 h 4645573"/>
                <a:gd name="connsiteX1" fmla="*/ 770903 w 770903"/>
                <a:gd name="connsiteY1" fmla="*/ 4645573 h 4645573"/>
                <a:gd name="connsiteX2" fmla="*/ 0 w 770903"/>
                <a:gd name="connsiteY2" fmla="*/ 3874670 h 4645573"/>
                <a:gd name="connsiteX3" fmla="*/ 0 w 770903"/>
                <a:gd name="connsiteY3" fmla="*/ 770903 h 4645573"/>
                <a:gd name="connsiteX4" fmla="*/ 770903 w 770903"/>
                <a:gd name="connsiteY4" fmla="*/ 0 h 4645573"/>
                <a:gd name="connsiteX5" fmla="*/ 770903 w 770903"/>
                <a:gd name="connsiteY5" fmla="*/ 0 h 464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0903" h="4645573">
                  <a:moveTo>
                    <a:pt x="770903" y="4645573"/>
                  </a:moveTo>
                  <a:lnTo>
                    <a:pt x="770903" y="4645573"/>
                  </a:lnTo>
                  <a:cubicBezTo>
                    <a:pt x="345145" y="4645573"/>
                    <a:pt x="0" y="4300428"/>
                    <a:pt x="0" y="3874670"/>
                  </a:cubicBezTo>
                  <a:lnTo>
                    <a:pt x="0" y="770903"/>
                  </a:lnTo>
                  <a:cubicBezTo>
                    <a:pt x="0" y="345145"/>
                    <a:pt x="345145" y="0"/>
                    <a:pt x="770903" y="0"/>
                  </a:cubicBezTo>
                  <a:lnTo>
                    <a:pt x="770903" y="0"/>
                  </a:lnTo>
                </a:path>
              </a:pathLst>
            </a:custGeom>
            <a:noFill/>
            <a:ln w="19050" cap="rnd">
              <a:solidFill>
                <a:srgbClr val="CACED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38FEA0C1-76D3-F848-9EA0-590631387E99}"/>
                </a:ext>
              </a:extLst>
            </p:cNvPr>
            <p:cNvCxnSpPr>
              <a:cxnSpLocks/>
            </p:cNvCxnSpPr>
            <p:nvPr/>
          </p:nvCxnSpPr>
          <p:spPr>
            <a:xfrm>
              <a:off x="4623371" y="3751951"/>
              <a:ext cx="744700" cy="0"/>
            </a:xfrm>
            <a:prstGeom prst="straightConnector1">
              <a:avLst/>
            </a:prstGeom>
            <a:ln w="19050" cap="rnd">
              <a:solidFill>
                <a:srgbClr val="CACED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FE3C2B5-7B0F-1DD3-F9DC-7F243B6070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6192" y="2512085"/>
            <a:ext cx="6603565" cy="310607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26328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0C591F6-0C2D-42D1-AA2A-C0271F2AA4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8424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Marketing Operations Toolbox and Marketer Dashboard</a:t>
            </a:r>
            <a:endParaRPr lang="en-US" i="1" dirty="0"/>
          </a:p>
          <a:p>
            <a:r>
              <a:rPr lang="en-US" dirty="0"/>
              <a:t>Open Q&amp;A/Discu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C83875-BE3D-467D-B2CE-37C26280C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01201" cy="4994125"/>
          </a:xfrm>
        </p:spPr>
        <p:txBody>
          <a:bodyPr/>
          <a:lstStyle/>
          <a:p>
            <a:r>
              <a:rPr lang="en-US" dirty="0"/>
              <a:t>Get your questions answered by the marketing operations team.  Open Office Hours are held monthly with the following agenda:</a:t>
            </a:r>
          </a:p>
          <a:p>
            <a:pPr lvl="1"/>
            <a:r>
              <a:rPr lang="en-US" dirty="0"/>
              <a:t>Learn about a tip or best practice  </a:t>
            </a:r>
          </a:p>
          <a:p>
            <a:pPr lvl="1"/>
            <a:r>
              <a:rPr lang="en-US" dirty="0"/>
              <a:t>Ask a question – Pre-submit your questions </a:t>
            </a:r>
            <a:r>
              <a:rPr lang="en-US" u="sng" dirty="0">
                <a:hlinkClick r:id="rId2"/>
              </a:rPr>
              <a:t>here</a:t>
            </a:r>
            <a:r>
              <a:rPr lang="en-US" u="sng" dirty="0"/>
              <a:t> </a:t>
            </a:r>
            <a:r>
              <a:rPr lang="en-US" dirty="0"/>
              <a:t>or ask during the office hou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Learn how to leverage IQVIA’s marketing systems and processes most effectively</a:t>
            </a:r>
            <a:endParaRPr lang="en-US" dirty="0">
              <a:cs typeface="Arial"/>
            </a:endParaRPr>
          </a:p>
          <a:p>
            <a:pPr lvl="1"/>
            <a:endParaRPr lang="en-US" dirty="0"/>
          </a:p>
          <a:p>
            <a:r>
              <a:rPr lang="en-US" b="1" u="sng" dirty="0"/>
              <a:t>Action:</a:t>
            </a:r>
            <a:r>
              <a:rPr lang="en-US" b="1" dirty="0"/>
              <a:t> </a:t>
            </a:r>
            <a:r>
              <a:rPr lang="en-US" dirty="0"/>
              <a:t>Sign up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, if you need to be added to the outlook invite</a:t>
            </a:r>
            <a:endParaRPr lang="en-US" dirty="0">
              <a:cs typeface="Arial"/>
            </a:endParaRPr>
          </a:p>
          <a:p>
            <a:endParaRPr lang="en-GB" dirty="0"/>
          </a:p>
          <a:p>
            <a:r>
              <a:rPr lang="en-US" b="1" u="sng" dirty="0">
                <a:cs typeface="Arial"/>
              </a:rPr>
              <a:t>Reminder: </a:t>
            </a:r>
            <a:r>
              <a:rPr lang="en-US" dirty="0">
                <a:cs typeface="Arial"/>
              </a:rPr>
              <a:t>Save your questions for the end or enter in the chat. We will address as many as we can!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66DA9-F784-418C-B439-6F6DAF88D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erations Open Office Hours 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F36190-781E-4144-9865-7D0153FAF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AFEEC-0E0C-E3CA-314B-85C6D0E7C8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Leaner processes &amp; more productive workflo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89AAEF-EF5F-46E8-B344-1E1ADD5D6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– Mktg Ops Toolbox Redesign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4FFDEE9-FAB2-4D77-BFCA-4D08520ED388}"/>
              </a:ext>
            </a:extLst>
          </p:cNvPr>
          <p:cNvSpPr>
            <a:spLocks noChangeAspect="1"/>
          </p:cNvSpPr>
          <p:nvPr/>
        </p:nvSpPr>
        <p:spPr>
          <a:xfrm>
            <a:off x="443079" y="2938758"/>
            <a:ext cx="941338" cy="9592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3A02408-1F7D-4695-98A3-A8075D418CE7}"/>
              </a:ext>
            </a:extLst>
          </p:cNvPr>
          <p:cNvSpPr>
            <a:spLocks noChangeAspect="1"/>
          </p:cNvSpPr>
          <p:nvPr/>
        </p:nvSpPr>
        <p:spPr>
          <a:xfrm>
            <a:off x="460418" y="2959247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 anchorCtr="0"/>
          <a:lstStyle/>
          <a:p>
            <a:pPr algn="ctr"/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EDDEB50-99D9-4C31-B3DD-8FEDAE2C8966}"/>
              </a:ext>
            </a:extLst>
          </p:cNvPr>
          <p:cNvSpPr>
            <a:spLocks noChangeAspect="1"/>
          </p:cNvSpPr>
          <p:nvPr/>
        </p:nvSpPr>
        <p:spPr>
          <a:xfrm>
            <a:off x="443079" y="1772492"/>
            <a:ext cx="941338" cy="9592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9C1A075-4DDA-47C3-BDE0-69ABCA345FBE}"/>
              </a:ext>
            </a:extLst>
          </p:cNvPr>
          <p:cNvSpPr>
            <a:spLocks noChangeAspect="1"/>
          </p:cNvSpPr>
          <p:nvPr/>
        </p:nvSpPr>
        <p:spPr>
          <a:xfrm>
            <a:off x="460418" y="1792982"/>
            <a:ext cx="914400" cy="914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 anchorCtr="0"/>
          <a:lstStyle/>
          <a:p>
            <a:pPr algn="ctr"/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A2AF6EF-7CF8-43A8-91E6-5B54A89BF71A}"/>
              </a:ext>
            </a:extLst>
          </p:cNvPr>
          <p:cNvSpPr>
            <a:spLocks noChangeAspect="1"/>
          </p:cNvSpPr>
          <p:nvPr/>
        </p:nvSpPr>
        <p:spPr>
          <a:xfrm>
            <a:off x="443079" y="4105024"/>
            <a:ext cx="941338" cy="9592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FA9BE1B4-3FA1-497E-834A-811F3F1FA52C}"/>
              </a:ext>
            </a:extLst>
          </p:cNvPr>
          <p:cNvSpPr>
            <a:spLocks noChangeAspect="1"/>
          </p:cNvSpPr>
          <p:nvPr/>
        </p:nvSpPr>
        <p:spPr>
          <a:xfrm>
            <a:off x="460418" y="4125514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 anchorCtr="0"/>
          <a:lstStyle/>
          <a:p>
            <a:pPr algn="ctr"/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ACB8663-62F6-4374-B65A-5C9EC211764B}"/>
              </a:ext>
            </a:extLst>
          </p:cNvPr>
          <p:cNvSpPr>
            <a:spLocks noChangeAspect="1"/>
          </p:cNvSpPr>
          <p:nvPr/>
        </p:nvSpPr>
        <p:spPr>
          <a:xfrm>
            <a:off x="443079" y="5271290"/>
            <a:ext cx="941338" cy="9592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3DA14AF-5C09-4DE0-AAB5-43C9C8FB982F}"/>
              </a:ext>
            </a:extLst>
          </p:cNvPr>
          <p:cNvSpPr>
            <a:spLocks noChangeAspect="1"/>
          </p:cNvSpPr>
          <p:nvPr/>
        </p:nvSpPr>
        <p:spPr>
          <a:xfrm>
            <a:off x="460418" y="5291780"/>
            <a:ext cx="914400" cy="9144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 anchorCtr="0"/>
          <a:lstStyle/>
          <a:p>
            <a:pPr algn="ctr"/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70" name="Arc 69">
            <a:extLst>
              <a:ext uri="{FF2B5EF4-FFF2-40B4-BE49-F238E27FC236}">
                <a16:creationId xmlns:a16="http://schemas.microsoft.com/office/drawing/2014/main" id="{9AEAABD7-EB61-42F0-A92B-7A3DFF181F5F}"/>
              </a:ext>
            </a:extLst>
          </p:cNvPr>
          <p:cNvSpPr/>
          <p:nvPr/>
        </p:nvSpPr>
        <p:spPr>
          <a:xfrm flipH="1">
            <a:off x="378664" y="1716000"/>
            <a:ext cx="1070167" cy="1072245"/>
          </a:xfrm>
          <a:prstGeom prst="arc">
            <a:avLst>
              <a:gd name="adj1" fmla="val 16200000"/>
              <a:gd name="adj2" fmla="val 5498192"/>
            </a:avLst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Arc 70">
            <a:extLst>
              <a:ext uri="{FF2B5EF4-FFF2-40B4-BE49-F238E27FC236}">
                <a16:creationId xmlns:a16="http://schemas.microsoft.com/office/drawing/2014/main" id="{E5618733-6C8E-4D8A-A6B9-4731F674E06D}"/>
              </a:ext>
            </a:extLst>
          </p:cNvPr>
          <p:cNvSpPr/>
          <p:nvPr/>
        </p:nvSpPr>
        <p:spPr>
          <a:xfrm flipH="1">
            <a:off x="378664" y="2882265"/>
            <a:ext cx="1070167" cy="1072245"/>
          </a:xfrm>
          <a:prstGeom prst="arc">
            <a:avLst>
              <a:gd name="adj1" fmla="val 16200000"/>
              <a:gd name="adj2" fmla="val 5526258"/>
            </a:avLst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Arc 71">
            <a:extLst>
              <a:ext uri="{FF2B5EF4-FFF2-40B4-BE49-F238E27FC236}">
                <a16:creationId xmlns:a16="http://schemas.microsoft.com/office/drawing/2014/main" id="{01C547AA-A1D3-41D7-B506-6BD0D5D122A1}"/>
              </a:ext>
            </a:extLst>
          </p:cNvPr>
          <p:cNvSpPr/>
          <p:nvPr/>
        </p:nvSpPr>
        <p:spPr>
          <a:xfrm flipH="1">
            <a:off x="378664" y="4048532"/>
            <a:ext cx="1070167" cy="1072245"/>
          </a:xfrm>
          <a:prstGeom prst="arc">
            <a:avLst>
              <a:gd name="adj1" fmla="val 16200000"/>
              <a:gd name="adj2" fmla="val 5462501"/>
            </a:avLst>
          </a:prstGeom>
          <a:ln w="381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Arc 72">
            <a:extLst>
              <a:ext uri="{FF2B5EF4-FFF2-40B4-BE49-F238E27FC236}">
                <a16:creationId xmlns:a16="http://schemas.microsoft.com/office/drawing/2014/main" id="{69564947-E972-4543-A9FA-2ADC663B24ED}"/>
              </a:ext>
            </a:extLst>
          </p:cNvPr>
          <p:cNvSpPr/>
          <p:nvPr/>
        </p:nvSpPr>
        <p:spPr>
          <a:xfrm flipH="1">
            <a:off x="378664" y="5214798"/>
            <a:ext cx="1070167" cy="1072245"/>
          </a:xfrm>
          <a:prstGeom prst="arc">
            <a:avLst>
              <a:gd name="adj1" fmla="val 16200000"/>
              <a:gd name="adj2" fmla="val 5505012"/>
            </a:avLst>
          </a:prstGeom>
          <a:ln w="381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159BD9F-9890-455C-80F1-0F5D06194E58}"/>
              </a:ext>
            </a:extLst>
          </p:cNvPr>
          <p:cNvCxnSpPr>
            <a:cxnSpLocks/>
          </p:cNvCxnSpPr>
          <p:nvPr/>
        </p:nvCxnSpPr>
        <p:spPr>
          <a:xfrm>
            <a:off x="913986" y="2788245"/>
            <a:ext cx="1080022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6FC5FB-22CC-4AB6-BF7F-400ACF947046}"/>
              </a:ext>
            </a:extLst>
          </p:cNvPr>
          <p:cNvCxnSpPr>
            <a:cxnSpLocks/>
          </p:cNvCxnSpPr>
          <p:nvPr/>
        </p:nvCxnSpPr>
        <p:spPr>
          <a:xfrm>
            <a:off x="923467" y="3954511"/>
            <a:ext cx="1080022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EB46B24-AF86-430D-8032-610CB48BB1C2}"/>
              </a:ext>
            </a:extLst>
          </p:cNvPr>
          <p:cNvCxnSpPr>
            <a:cxnSpLocks/>
          </p:cNvCxnSpPr>
          <p:nvPr/>
        </p:nvCxnSpPr>
        <p:spPr>
          <a:xfrm>
            <a:off x="923467" y="5120777"/>
            <a:ext cx="10800220" cy="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68B2EC-9E59-4BA6-9FB6-7CFD899343A0}"/>
              </a:ext>
            </a:extLst>
          </p:cNvPr>
          <p:cNvCxnSpPr>
            <a:cxnSpLocks/>
          </p:cNvCxnSpPr>
          <p:nvPr/>
        </p:nvCxnSpPr>
        <p:spPr>
          <a:xfrm>
            <a:off x="923467" y="6287043"/>
            <a:ext cx="10800220" cy="0"/>
          </a:xfrm>
          <a:prstGeom prst="line">
            <a:avLst/>
          </a:prstGeom>
          <a:ln w="381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69">
            <a:extLst>
              <a:ext uri="{FF2B5EF4-FFF2-40B4-BE49-F238E27FC236}">
                <a16:creationId xmlns:a16="http://schemas.microsoft.com/office/drawing/2014/main" id="{FEACCE26-8F70-48D8-884A-EC11E66C00AB}"/>
              </a:ext>
            </a:extLst>
          </p:cNvPr>
          <p:cNvSpPr>
            <a:spLocks/>
          </p:cNvSpPr>
          <p:nvPr/>
        </p:nvSpPr>
        <p:spPr>
          <a:xfrm>
            <a:off x="1470375" y="1851946"/>
            <a:ext cx="10278545" cy="816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er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the convenience of a single location to submit all their Marketing Operations request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ier and more intuitive navigation for marketers to find the right information and accomplish their tasks  </a:t>
            </a:r>
          </a:p>
        </p:txBody>
      </p:sp>
      <p:sp>
        <p:nvSpPr>
          <p:cNvPr id="27" name="Rounded Rectangle 69">
            <a:extLst>
              <a:ext uri="{FF2B5EF4-FFF2-40B4-BE49-F238E27FC236}">
                <a16:creationId xmlns:a16="http://schemas.microsoft.com/office/drawing/2014/main" id="{A78D6C61-76DE-4D3B-AEA1-ADE242A3C7F9}"/>
              </a:ext>
            </a:extLst>
          </p:cNvPr>
          <p:cNvSpPr>
            <a:spLocks/>
          </p:cNvSpPr>
          <p:nvPr/>
        </p:nvSpPr>
        <p:spPr>
          <a:xfrm>
            <a:off x="1470375" y="3018212"/>
            <a:ext cx="10278545" cy="816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Operation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a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process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fficiently manage all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 and SLAs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oss channel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 easier and quicker to manage form updates </a:t>
            </a:r>
          </a:p>
        </p:txBody>
      </p:sp>
      <p:sp>
        <p:nvSpPr>
          <p:cNvPr id="28" name="Rounded Rectangle 69">
            <a:extLst>
              <a:ext uri="{FF2B5EF4-FFF2-40B4-BE49-F238E27FC236}">
                <a16:creationId xmlns:a16="http://schemas.microsoft.com/office/drawing/2014/main" id="{63753C7E-95A3-47F3-9949-D2FC5F887658}"/>
              </a:ext>
            </a:extLst>
          </p:cNvPr>
          <p:cNvSpPr>
            <a:spLocks/>
          </p:cNvSpPr>
          <p:nvPr/>
        </p:nvSpPr>
        <p:spPr>
          <a:xfrm>
            <a:off x="1470375" y="4184478"/>
            <a:ext cx="10278545" cy="816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Metrics</a:t>
            </a:r>
            <a:endParaRPr lang="en-US" sz="16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d and aligned fields across all request types to support the business’s reporting requirement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to report Activation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rics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Rounded Rectangle 69">
            <a:extLst>
              <a:ext uri="{FF2B5EF4-FFF2-40B4-BE49-F238E27FC236}">
                <a16:creationId xmlns:a16="http://schemas.microsoft.com/office/drawing/2014/main" id="{37B459C1-1E15-450E-9DF0-4FCF52ECC185}"/>
              </a:ext>
            </a:extLst>
          </p:cNvPr>
          <p:cNvSpPr>
            <a:spLocks/>
          </p:cNvSpPr>
          <p:nvPr/>
        </p:nvSpPr>
        <p:spPr>
          <a:xfrm>
            <a:off x="1470375" y="5350744"/>
            <a:ext cx="10278545" cy="816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 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ontinuous improvement,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that we can more easily manag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intain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 regular basis </a:t>
            </a:r>
          </a:p>
        </p:txBody>
      </p:sp>
    </p:spTree>
    <p:extLst>
      <p:ext uri="{BB962C8B-B14F-4D97-AF65-F5344CB8AC3E}">
        <p14:creationId xmlns:p14="http://schemas.microsoft.com/office/powerpoint/2010/main" val="191385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D76D85-04B1-4F19-999A-6FB13CF037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D76D85-04B1-4F19-999A-6FB13CF03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B4F685-06C9-4DE7-B17E-D99ED624C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/>
          <a:lstStyle/>
          <a:p>
            <a:r>
              <a:rPr lang="en-US" dirty="0"/>
              <a:t>Operational </a:t>
            </a:r>
            <a:r>
              <a:rPr lang="en-US"/>
              <a:t>Plan – Mktg Ops Toolbox Redesign</a:t>
            </a: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BA2CB51B-155C-4F68-B114-F65FFF2E2D04}"/>
              </a:ext>
            </a:extLst>
          </p:cNvPr>
          <p:cNvSpPr/>
          <p:nvPr/>
        </p:nvSpPr>
        <p:spPr>
          <a:xfrm>
            <a:off x="5914243" y="1769101"/>
            <a:ext cx="986906" cy="986906"/>
          </a:xfrm>
          <a:prstGeom prst="arc">
            <a:avLst>
              <a:gd name="adj1" fmla="val 16383473"/>
              <a:gd name="adj2" fmla="val 7680942"/>
            </a:avLst>
          </a:prstGeom>
          <a:ln w="152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8211561D-FA6B-400D-8186-A26320067F3D}"/>
              </a:ext>
            </a:extLst>
          </p:cNvPr>
          <p:cNvSpPr/>
          <p:nvPr/>
        </p:nvSpPr>
        <p:spPr>
          <a:xfrm rot="16200000">
            <a:off x="5206799" y="2460667"/>
            <a:ext cx="986906" cy="986906"/>
          </a:xfrm>
          <a:prstGeom prst="arc">
            <a:avLst>
              <a:gd name="adj1" fmla="val 8467212"/>
              <a:gd name="adj2" fmla="val 2874456"/>
            </a:avLst>
          </a:prstGeom>
          <a:ln w="152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BB5679BF-ECBE-477B-87E6-9B64BDF07889}"/>
              </a:ext>
            </a:extLst>
          </p:cNvPr>
          <p:cNvSpPr/>
          <p:nvPr/>
        </p:nvSpPr>
        <p:spPr>
          <a:xfrm rot="16200000">
            <a:off x="5914243" y="3150283"/>
            <a:ext cx="986906" cy="986906"/>
          </a:xfrm>
          <a:prstGeom prst="arc">
            <a:avLst>
              <a:gd name="adj1" fmla="val 18835867"/>
              <a:gd name="adj2" fmla="val 13449777"/>
            </a:avLst>
          </a:prstGeom>
          <a:ln w="1524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C06944DC-575E-445B-8CA1-974752EE981A}"/>
              </a:ext>
            </a:extLst>
          </p:cNvPr>
          <p:cNvSpPr/>
          <p:nvPr/>
        </p:nvSpPr>
        <p:spPr>
          <a:xfrm rot="6026791">
            <a:off x="5213204" y="3844923"/>
            <a:ext cx="986906" cy="986906"/>
          </a:xfrm>
          <a:prstGeom prst="arc">
            <a:avLst>
              <a:gd name="adj1" fmla="val 18247127"/>
              <a:gd name="adj2" fmla="val 12923020"/>
            </a:avLst>
          </a:prstGeom>
          <a:ln w="152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A677A2AB-B70C-4B6E-8F87-1157EA7CCEDE}"/>
              </a:ext>
            </a:extLst>
          </p:cNvPr>
          <p:cNvSpPr/>
          <p:nvPr/>
        </p:nvSpPr>
        <p:spPr>
          <a:xfrm rot="6026791">
            <a:off x="5914243" y="4546731"/>
            <a:ext cx="986906" cy="986906"/>
          </a:xfrm>
          <a:prstGeom prst="arc">
            <a:avLst>
              <a:gd name="adj1" fmla="val 7173897"/>
              <a:gd name="adj2" fmla="val 1884216"/>
            </a:avLst>
          </a:prstGeom>
          <a:ln w="152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A36A159B-CCAE-49AF-955D-6F76B4CA5A30}"/>
              </a:ext>
            </a:extLst>
          </p:cNvPr>
          <p:cNvSpPr/>
          <p:nvPr/>
        </p:nvSpPr>
        <p:spPr>
          <a:xfrm rot="6026791">
            <a:off x="5206799" y="5239916"/>
            <a:ext cx="986906" cy="986906"/>
          </a:xfrm>
          <a:prstGeom prst="arc">
            <a:avLst>
              <a:gd name="adj1" fmla="val 20957911"/>
              <a:gd name="adj2" fmla="val 13118080"/>
            </a:avLst>
          </a:prstGeom>
          <a:ln w="152400" cap="rnd">
            <a:solidFill>
              <a:srgbClr val="606B7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4345F0-B4B3-478B-8980-7ACC63179686}"/>
              </a:ext>
            </a:extLst>
          </p:cNvPr>
          <p:cNvSpPr>
            <a:spLocks noChangeAspect="1"/>
          </p:cNvSpPr>
          <p:nvPr/>
        </p:nvSpPr>
        <p:spPr>
          <a:xfrm>
            <a:off x="6049782" y="1906391"/>
            <a:ext cx="731520" cy="7315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AA9EBD7-10F6-4A7A-B999-289388DAE61A}"/>
              </a:ext>
            </a:extLst>
          </p:cNvPr>
          <p:cNvSpPr>
            <a:spLocks noChangeAspect="1"/>
          </p:cNvSpPr>
          <p:nvPr/>
        </p:nvSpPr>
        <p:spPr>
          <a:xfrm>
            <a:off x="5332153" y="2589297"/>
            <a:ext cx="731520" cy="7315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37B243D-02FD-4691-AD3E-D721DF0D88E8}"/>
              </a:ext>
            </a:extLst>
          </p:cNvPr>
          <p:cNvSpPr>
            <a:spLocks noChangeAspect="1"/>
          </p:cNvSpPr>
          <p:nvPr/>
        </p:nvSpPr>
        <p:spPr>
          <a:xfrm>
            <a:off x="6049782" y="3292710"/>
            <a:ext cx="731520" cy="7315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15236AA-FFED-4E9D-A12B-82E7ACDDCF91}"/>
              </a:ext>
            </a:extLst>
          </p:cNvPr>
          <p:cNvSpPr>
            <a:spLocks noChangeAspect="1"/>
          </p:cNvSpPr>
          <p:nvPr/>
        </p:nvSpPr>
        <p:spPr>
          <a:xfrm>
            <a:off x="5332153" y="3978259"/>
            <a:ext cx="731520" cy="7315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7907B3E-EAB1-467D-A45D-F0918CE9FF9F}"/>
              </a:ext>
            </a:extLst>
          </p:cNvPr>
          <p:cNvSpPr>
            <a:spLocks noChangeAspect="1"/>
          </p:cNvSpPr>
          <p:nvPr/>
        </p:nvSpPr>
        <p:spPr>
          <a:xfrm>
            <a:off x="6049782" y="4670097"/>
            <a:ext cx="731520" cy="73152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E1CE5E2-DFA8-4CE1-AB44-F9B2AA85870E}"/>
              </a:ext>
            </a:extLst>
          </p:cNvPr>
          <p:cNvSpPr>
            <a:spLocks noChangeAspect="1"/>
          </p:cNvSpPr>
          <p:nvPr/>
        </p:nvSpPr>
        <p:spPr>
          <a:xfrm>
            <a:off x="5332153" y="5363223"/>
            <a:ext cx="731520" cy="73152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800" b="1"/>
              <a:t>6</a:t>
            </a:r>
          </a:p>
        </p:txBody>
      </p:sp>
      <p:sp>
        <p:nvSpPr>
          <p:cNvPr id="27" name="Rounded Rectangle 69">
            <a:extLst>
              <a:ext uri="{FF2B5EF4-FFF2-40B4-BE49-F238E27FC236}">
                <a16:creationId xmlns:a16="http://schemas.microsoft.com/office/drawing/2014/main" id="{52E8B1DA-EE69-4808-975B-756FC6EF0794}"/>
              </a:ext>
            </a:extLst>
          </p:cNvPr>
          <p:cNvSpPr>
            <a:spLocks/>
          </p:cNvSpPr>
          <p:nvPr/>
        </p:nvSpPr>
        <p:spPr>
          <a:xfrm>
            <a:off x="384694" y="2507762"/>
            <a:ext cx="4686566" cy="89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 Request Form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into the Toolbox from VIA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/5 forms condensed to 1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" name="Rounded Rectangle 69">
            <a:extLst>
              <a:ext uri="{FF2B5EF4-FFF2-40B4-BE49-F238E27FC236}">
                <a16:creationId xmlns:a16="http://schemas.microsoft.com/office/drawing/2014/main" id="{83CDA8FB-62AE-4586-9078-2C9F3E3A6931}"/>
              </a:ext>
            </a:extLst>
          </p:cNvPr>
          <p:cNvSpPr>
            <a:spLocks/>
          </p:cNvSpPr>
          <p:nvPr/>
        </p:nvSpPr>
        <p:spPr>
          <a:xfrm>
            <a:off x="7036688" y="1731817"/>
            <a:ext cx="4686566" cy="89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 Enhancement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 fields and data across request type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on to Reporting Group (from BU)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Rounded Rectangle 69">
            <a:extLst>
              <a:ext uri="{FF2B5EF4-FFF2-40B4-BE49-F238E27FC236}">
                <a16:creationId xmlns:a16="http://schemas.microsoft.com/office/drawing/2014/main" id="{8B9CCAD6-36E6-47E3-93EA-A8DEAC11F55C}"/>
              </a:ext>
            </a:extLst>
          </p:cNvPr>
          <p:cNvSpPr>
            <a:spLocks/>
          </p:cNvSpPr>
          <p:nvPr/>
        </p:nvSpPr>
        <p:spPr>
          <a:xfrm>
            <a:off x="384694" y="3628892"/>
            <a:ext cx="4686566" cy="1155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c Social Form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into the Toolbox from VIA</a:t>
            </a:r>
          </a:p>
        </p:txBody>
      </p:sp>
      <p:sp>
        <p:nvSpPr>
          <p:cNvPr id="30" name="Rounded Rectangle 69">
            <a:extLst>
              <a:ext uri="{FF2B5EF4-FFF2-40B4-BE49-F238E27FC236}">
                <a16:creationId xmlns:a16="http://schemas.microsoft.com/office/drawing/2014/main" id="{083D9F24-587E-4791-846B-318BEB5037ED}"/>
              </a:ext>
            </a:extLst>
          </p:cNvPr>
          <p:cNvSpPr>
            <a:spLocks/>
          </p:cNvSpPr>
          <p:nvPr/>
        </p:nvSpPr>
        <p:spPr>
          <a:xfrm>
            <a:off x="7036688" y="4671837"/>
            <a:ext cx="4686566" cy="89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Redesign</a:t>
            </a:r>
          </a:p>
          <a:p>
            <a:pPr marL="285750" lvl="0" indent="-28575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lect current IQVIA Brand</a:t>
            </a:r>
          </a:p>
          <a:p>
            <a:pPr marL="285750" lvl="0" indent="-28575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zed &amp; Updated UI</a:t>
            </a:r>
          </a:p>
          <a:p>
            <a:pPr marL="285750" lvl="0" indent="-28575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d Usability for Marketers</a:t>
            </a:r>
          </a:p>
        </p:txBody>
      </p:sp>
      <p:sp>
        <p:nvSpPr>
          <p:cNvPr id="31" name="Rounded Rectangle 69">
            <a:extLst>
              <a:ext uri="{FF2B5EF4-FFF2-40B4-BE49-F238E27FC236}">
                <a16:creationId xmlns:a16="http://schemas.microsoft.com/office/drawing/2014/main" id="{3AE922C4-BE52-40E5-AB75-7F61E153F91E}"/>
              </a:ext>
            </a:extLst>
          </p:cNvPr>
          <p:cNvSpPr>
            <a:spLocks/>
          </p:cNvSpPr>
          <p:nvPr/>
        </p:nvSpPr>
        <p:spPr>
          <a:xfrm>
            <a:off x="7036688" y="3197824"/>
            <a:ext cx="4686566" cy="89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d Social Form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into the Toolbox from email/excel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form for multiple types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" name="Rounded Rectangle 69">
            <a:extLst>
              <a:ext uri="{FF2B5EF4-FFF2-40B4-BE49-F238E27FC236}">
                <a16:creationId xmlns:a16="http://schemas.microsoft.com/office/drawing/2014/main" id="{0DFBE4D3-B362-4733-A19E-F3FDB2F07098}"/>
              </a:ext>
            </a:extLst>
          </p:cNvPr>
          <p:cNvSpPr>
            <a:spLocks/>
          </p:cNvSpPr>
          <p:nvPr/>
        </p:nvSpPr>
        <p:spPr>
          <a:xfrm>
            <a:off x="395189" y="5381318"/>
            <a:ext cx="4686566" cy="1155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ts val="300"/>
              </a:spcAft>
              <a:buNone/>
              <a:defRPr/>
            </a:pPr>
            <a:r>
              <a:rPr lang="en-US" sz="1600" b="1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 Productivity Updates (Ongoing)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 focused on productivity enhancements across intake/requests &amp; Activation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er Dashboard &amp; Conversations</a:t>
            </a: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18AC086-57E0-724C-F813-54E01C30243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38059" y="1742207"/>
            <a:ext cx="341457" cy="34145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D8D2468-8A14-ABEE-5470-4867895269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85530" y="3919809"/>
            <a:ext cx="341457" cy="341457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70DEAB71-0F4D-561A-1550-82852EAA07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43294" y="3204989"/>
            <a:ext cx="341457" cy="341457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E789042-ABC9-5F74-EC97-6F7AE40C5A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56259" y="2507762"/>
            <a:ext cx="341457" cy="341457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3043020F-1052-9582-D509-3AC7AF120AA1}"/>
              </a:ext>
            </a:extLst>
          </p:cNvPr>
          <p:cNvSpPr/>
          <p:nvPr/>
        </p:nvSpPr>
        <p:spPr>
          <a:xfrm>
            <a:off x="6843274" y="4196893"/>
            <a:ext cx="3486436" cy="1851319"/>
          </a:xfrm>
          <a:prstGeom prst="ellipse">
            <a:avLst/>
          </a:prstGeom>
          <a:noFill/>
          <a:ln w="317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BB18390-781B-9D05-3649-182A91371D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1681" y="5191209"/>
            <a:ext cx="341457" cy="341457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71F4579B-E870-A4E7-9E7F-59D2EA515D7F}"/>
              </a:ext>
            </a:extLst>
          </p:cNvPr>
          <p:cNvSpPr/>
          <p:nvPr/>
        </p:nvSpPr>
        <p:spPr>
          <a:xfrm>
            <a:off x="84084" y="5939142"/>
            <a:ext cx="4256688" cy="368974"/>
          </a:xfrm>
          <a:prstGeom prst="ellipse">
            <a:avLst/>
          </a:prstGeom>
          <a:noFill/>
          <a:ln w="317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3732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593CE08-F3D3-4B6C-BD03-D00BFFE1F3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593CE08-F3D3-4B6C-BD03-D00BFFE1F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82927C6-562A-441A-AB2D-E9EF86D8A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box Site Redesign </a:t>
            </a:r>
            <a:r>
              <a:rPr lang="en-US" dirty="0"/>
              <a:t>Process</a:t>
            </a:r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C07A2D84-D85B-4D84-A259-DE6FCC0A634C}"/>
              </a:ext>
            </a:extLst>
          </p:cNvPr>
          <p:cNvSpPr/>
          <p:nvPr/>
        </p:nvSpPr>
        <p:spPr>
          <a:xfrm rot="1026722">
            <a:off x="634389" y="1711177"/>
            <a:ext cx="1277965" cy="226817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8575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52C29379-CCEA-4CC0-9907-3F8DEEF71CCC}"/>
              </a:ext>
            </a:extLst>
          </p:cNvPr>
          <p:cNvSpPr/>
          <p:nvPr/>
        </p:nvSpPr>
        <p:spPr>
          <a:xfrm flipH="1">
            <a:off x="631311" y="2203412"/>
            <a:ext cx="5373454" cy="12255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rIns="91440" bIns="4572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400" b="1">
                <a:solidFill>
                  <a:schemeClr val="accent1"/>
                </a:solidFill>
              </a:rPr>
              <a:t>Input &amp; Research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Google Analytics data review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Results from survey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tx1"/>
                </a:solidFill>
                <a:cs typeface="Arial" panose="020B0604020202020204" pitchFamily="34" charset="0"/>
              </a:rPr>
              <a:t>Marketer input </a:t>
            </a: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from survey/comm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04E4B54-E5AA-4F41-80D0-A92BC8B21019}"/>
              </a:ext>
            </a:extLst>
          </p:cNvPr>
          <p:cNvSpPr txBox="1"/>
          <p:nvPr/>
        </p:nvSpPr>
        <p:spPr>
          <a:xfrm>
            <a:off x="1065995" y="1848008"/>
            <a:ext cx="490199" cy="338554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1A8FFD5-8CC3-4998-9F23-EC6058C209B1}"/>
              </a:ext>
            </a:extLst>
          </p:cNvPr>
          <p:cNvSpPr txBox="1"/>
          <p:nvPr/>
        </p:nvSpPr>
        <p:spPr>
          <a:xfrm>
            <a:off x="887082" y="3418724"/>
            <a:ext cx="217688" cy="461665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1807A859-FB62-43AC-96A2-CA39056DD5CE}"/>
              </a:ext>
            </a:extLst>
          </p:cNvPr>
          <p:cNvSpPr/>
          <p:nvPr/>
        </p:nvSpPr>
        <p:spPr>
          <a:xfrm rot="1026722">
            <a:off x="6352878" y="1711177"/>
            <a:ext cx="1277965" cy="226817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28575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5AA0DBC2-E8D0-4C1A-AA58-AE3DE355EAD5}"/>
              </a:ext>
            </a:extLst>
          </p:cNvPr>
          <p:cNvSpPr/>
          <p:nvPr/>
        </p:nvSpPr>
        <p:spPr>
          <a:xfrm flipH="1">
            <a:off x="6349800" y="2203412"/>
            <a:ext cx="5373454" cy="12255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rIns="91440" bIns="4572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400" b="1">
                <a:solidFill>
                  <a:schemeClr val="accent2"/>
                </a:solidFill>
              </a:rPr>
              <a:t>Briefing &amp; Design 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Agency briefing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 – mid-July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Agency 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generated</a:t>
            </a: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 3-4 design proposal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404555E-6F8A-4FE7-B06B-1BF82633D52B}"/>
              </a:ext>
            </a:extLst>
          </p:cNvPr>
          <p:cNvSpPr txBox="1"/>
          <p:nvPr/>
        </p:nvSpPr>
        <p:spPr>
          <a:xfrm>
            <a:off x="6784484" y="1848008"/>
            <a:ext cx="490199" cy="338554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F1BC293-59DB-47C5-A3F1-97282AAC0FBF}"/>
              </a:ext>
            </a:extLst>
          </p:cNvPr>
          <p:cNvSpPr txBox="1"/>
          <p:nvPr/>
        </p:nvSpPr>
        <p:spPr>
          <a:xfrm>
            <a:off x="6605571" y="3418724"/>
            <a:ext cx="217688" cy="461665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3D0DE195-580A-4334-AC0F-0D8F80683D18}"/>
              </a:ext>
            </a:extLst>
          </p:cNvPr>
          <p:cNvSpPr/>
          <p:nvPr/>
        </p:nvSpPr>
        <p:spPr>
          <a:xfrm rot="1026722">
            <a:off x="634389" y="4008063"/>
            <a:ext cx="1277965" cy="226817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2857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BC7411D-DD4C-42AA-AB4C-E4BCF157EAA1}"/>
              </a:ext>
            </a:extLst>
          </p:cNvPr>
          <p:cNvSpPr/>
          <p:nvPr/>
        </p:nvSpPr>
        <p:spPr>
          <a:xfrm flipH="1">
            <a:off x="631311" y="4500298"/>
            <a:ext cx="5373454" cy="12255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rIns="91440" bIns="4572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400" b="1">
                <a:solidFill>
                  <a:schemeClr val="accent3"/>
                </a:solidFill>
              </a:rPr>
              <a:t>Evaluation &amp; Decision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Review design options internally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tx1"/>
                </a:solidFill>
                <a:cs typeface="Arial" panose="020B0604020202020204" pitchFamily="34" charset="0"/>
              </a:rPr>
              <a:t>Marketer focus group &amp; Brand </a:t>
            </a: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for feedback and 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advice</a:t>
            </a:r>
            <a:endParaRPr 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Provide direction back to Agency for 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final</a:t>
            </a: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 desig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3443625-8D77-48A2-8618-CF4169DD81DD}"/>
              </a:ext>
            </a:extLst>
          </p:cNvPr>
          <p:cNvSpPr txBox="1"/>
          <p:nvPr/>
        </p:nvSpPr>
        <p:spPr>
          <a:xfrm>
            <a:off x="1065995" y="4144894"/>
            <a:ext cx="490199" cy="338554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AEE65D-C0DD-4B6C-AAC6-2E417D6DB167}"/>
              </a:ext>
            </a:extLst>
          </p:cNvPr>
          <p:cNvSpPr txBox="1"/>
          <p:nvPr/>
        </p:nvSpPr>
        <p:spPr>
          <a:xfrm>
            <a:off x="887082" y="5715610"/>
            <a:ext cx="217688" cy="461665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FCF54E4B-5D9A-440C-A284-747B618CA0ED}"/>
              </a:ext>
            </a:extLst>
          </p:cNvPr>
          <p:cNvSpPr/>
          <p:nvPr/>
        </p:nvSpPr>
        <p:spPr>
          <a:xfrm rot="1026722">
            <a:off x="6352878" y="4008063"/>
            <a:ext cx="1277965" cy="226817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2857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DD3ACB21-FD98-49E3-919A-8FA5EC50EFF8}"/>
              </a:ext>
            </a:extLst>
          </p:cNvPr>
          <p:cNvSpPr/>
          <p:nvPr/>
        </p:nvSpPr>
        <p:spPr>
          <a:xfrm flipH="1">
            <a:off x="6349800" y="4500298"/>
            <a:ext cx="5373454" cy="12255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rIns="91440" bIns="4572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400" b="1">
                <a:solidFill>
                  <a:schemeClr val="accent5"/>
                </a:solidFill>
              </a:rPr>
              <a:t>Build &amp; Go Live</a:t>
            </a: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Agency 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builds </a:t>
            </a: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site enhancements</a:t>
            </a: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, Update Content</a:t>
            </a:r>
            <a:endParaRPr 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Testing</a:t>
            </a:r>
            <a:endParaRPr 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82880" indent="-182880" fontAlgn="base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t>Go Live &amp; Communica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0A760B7-4506-492B-9E0B-FD9DE4605D53}"/>
              </a:ext>
            </a:extLst>
          </p:cNvPr>
          <p:cNvSpPr txBox="1"/>
          <p:nvPr/>
        </p:nvSpPr>
        <p:spPr>
          <a:xfrm>
            <a:off x="6784484" y="4144894"/>
            <a:ext cx="490199" cy="338554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0FD3826-C4A0-4C7E-AEDA-0CCBEBDD472B}"/>
              </a:ext>
            </a:extLst>
          </p:cNvPr>
          <p:cNvSpPr txBox="1"/>
          <p:nvPr/>
        </p:nvSpPr>
        <p:spPr>
          <a:xfrm>
            <a:off x="6605571" y="5715610"/>
            <a:ext cx="217688" cy="461665"/>
          </a:xfrm>
          <a:prstGeom prst="rect">
            <a:avLst/>
          </a:prstGeom>
          <a:noFill/>
        </p:spPr>
        <p:txBody>
          <a:bodyPr wrap="none" lIns="45720" r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16475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531B3A-5936-4EF6-8CB8-08EEC9590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ktg Ops Toolbox – Old to N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8EDD22-26C4-CE60-6623-F4F5F64E8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694" y="1183500"/>
            <a:ext cx="4907705" cy="52734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8AB959F-5C22-9DBC-960E-65CCCC86C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809" y="1183500"/>
            <a:ext cx="11008382" cy="517793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10675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D065E33-A26C-113F-3DC4-67281BCA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er Dashboard</a:t>
            </a:r>
          </a:p>
        </p:txBody>
      </p:sp>
    </p:spTree>
    <p:extLst>
      <p:ext uri="{BB962C8B-B14F-4D97-AF65-F5344CB8AC3E}">
        <p14:creationId xmlns:p14="http://schemas.microsoft.com/office/powerpoint/2010/main" val="242881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6EFC8F-E4F8-1E65-E119-D7004CD521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Productivity Enhancem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D61DC6-FC41-4269-94FE-07AE1A18F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er Dashboard introduc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62EC24-9E7E-4020-A40B-815ED25E6701}"/>
              </a:ext>
            </a:extLst>
          </p:cNvPr>
          <p:cNvSpPr txBox="1"/>
          <p:nvPr/>
        </p:nvSpPr>
        <p:spPr>
          <a:xfrm>
            <a:off x="5826754" y="1693801"/>
            <a:ext cx="5935854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accent2"/>
                </a:solidFill>
              </a:rPr>
              <a:t>View and manage all your active requests in single location including details – Campaign ID, Segments etc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51786B-1D20-45A1-B53F-E6B497EE49F5}"/>
              </a:ext>
            </a:extLst>
          </p:cNvPr>
          <p:cNvSpPr txBox="1"/>
          <p:nvPr/>
        </p:nvSpPr>
        <p:spPr>
          <a:xfrm>
            <a:off x="5826754" y="2480316"/>
            <a:ext cx="5935379" cy="7944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accent1"/>
                </a:solidFill>
              </a:rPr>
              <a:t>Converse with Mktg Ops regarding a request – rather than emailing back and forth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AC1917-C5D4-4AC4-B74A-95F3E2284FCA}"/>
              </a:ext>
            </a:extLst>
          </p:cNvPr>
          <p:cNvSpPr txBox="1"/>
          <p:nvPr/>
        </p:nvSpPr>
        <p:spPr>
          <a:xfrm>
            <a:off x="5826753" y="3384685"/>
            <a:ext cx="5935379" cy="78465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accent5"/>
                </a:solidFill>
              </a:rPr>
              <a:t>Add attachments directly to requests – content, lists etc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8FCF94-4CCE-4F4E-B73C-98933563AC28}"/>
              </a:ext>
            </a:extLst>
          </p:cNvPr>
          <p:cNvSpPr/>
          <p:nvPr/>
        </p:nvSpPr>
        <p:spPr>
          <a:xfrm>
            <a:off x="384694" y="3354014"/>
            <a:ext cx="5057779" cy="809768"/>
          </a:xfrm>
          <a:prstGeom prst="roundRect">
            <a:avLst>
              <a:gd name="adj" fmla="val 50000"/>
            </a:avLst>
          </a:prstGeom>
          <a:solidFill>
            <a:srgbClr val="00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r>
              <a:rPr lang="en-US" sz="2000" b="1" dirty="0"/>
              <a:t>Add Attachment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C92ACE0-2A3C-4D82-B00F-2A61ED6A570B}"/>
              </a:ext>
            </a:extLst>
          </p:cNvPr>
          <p:cNvSpPr/>
          <p:nvPr/>
        </p:nvSpPr>
        <p:spPr>
          <a:xfrm>
            <a:off x="429867" y="339450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3200" b="1" dirty="0">
                <a:solidFill>
                  <a:schemeClr val="accent5"/>
                </a:solidFill>
              </a:rPr>
              <a:t>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943A0B7-E579-4C46-804D-D48D40C878EE}"/>
              </a:ext>
            </a:extLst>
          </p:cNvPr>
          <p:cNvSpPr/>
          <p:nvPr/>
        </p:nvSpPr>
        <p:spPr>
          <a:xfrm>
            <a:off x="384693" y="1547994"/>
            <a:ext cx="5057780" cy="809768"/>
          </a:xfrm>
          <a:prstGeom prst="roundRect">
            <a:avLst>
              <a:gd name="adj" fmla="val 50000"/>
            </a:avLst>
          </a:prstGeom>
          <a:solidFill>
            <a:srgbClr val="0055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r>
              <a:rPr lang="en-US" sz="2000" b="1" dirty="0"/>
              <a:t>View Request Detail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ACBFBDC-3C9F-4F17-A12A-BBF60AEC0067}"/>
              </a:ext>
            </a:extLst>
          </p:cNvPr>
          <p:cNvSpPr/>
          <p:nvPr/>
        </p:nvSpPr>
        <p:spPr>
          <a:xfrm>
            <a:off x="429867" y="158848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32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CCF3044-E5FA-4EA9-8D33-A43B577CC557}"/>
              </a:ext>
            </a:extLst>
          </p:cNvPr>
          <p:cNvSpPr/>
          <p:nvPr/>
        </p:nvSpPr>
        <p:spPr>
          <a:xfrm>
            <a:off x="384693" y="2451003"/>
            <a:ext cx="5057780" cy="809768"/>
          </a:xfrm>
          <a:prstGeom prst="roundRect">
            <a:avLst>
              <a:gd name="adj" fmla="val 50000"/>
            </a:avLst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r>
              <a:rPr lang="en-US" sz="2000" b="1" dirty="0"/>
              <a:t>Converse w/ Mktg Op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986EFDA-BCB4-4457-B8F0-D4E79BC4316E}"/>
              </a:ext>
            </a:extLst>
          </p:cNvPr>
          <p:cNvSpPr/>
          <p:nvPr/>
        </p:nvSpPr>
        <p:spPr>
          <a:xfrm>
            <a:off x="429867" y="249149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3" name="Flowchart: Merge 12">
            <a:extLst>
              <a:ext uri="{FF2B5EF4-FFF2-40B4-BE49-F238E27FC236}">
                <a16:creationId xmlns:a16="http://schemas.microsoft.com/office/drawing/2014/main" id="{63706C7B-3BDA-47A4-8709-E9D4994AA240}"/>
              </a:ext>
            </a:extLst>
          </p:cNvPr>
          <p:cNvSpPr/>
          <p:nvPr/>
        </p:nvSpPr>
        <p:spPr>
          <a:xfrm rot="5400000" flipV="1">
            <a:off x="5039634" y="1875757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B191FA4B-C7AB-4C0A-BA04-92CC81AF17C6}"/>
              </a:ext>
            </a:extLst>
          </p:cNvPr>
          <p:cNvSpPr/>
          <p:nvPr/>
        </p:nvSpPr>
        <p:spPr>
          <a:xfrm rot="5400000" flipV="1">
            <a:off x="5039635" y="2765462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5" name="Flowchart: Merge 14">
            <a:extLst>
              <a:ext uri="{FF2B5EF4-FFF2-40B4-BE49-F238E27FC236}">
                <a16:creationId xmlns:a16="http://schemas.microsoft.com/office/drawing/2014/main" id="{15687902-4CF4-43A4-AB5F-07962F9647C8}"/>
              </a:ext>
            </a:extLst>
          </p:cNvPr>
          <p:cNvSpPr/>
          <p:nvPr/>
        </p:nvSpPr>
        <p:spPr>
          <a:xfrm rot="5400000" flipV="1">
            <a:off x="5039636" y="3669264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A4231A-8C69-4C22-95C3-26438B9AFE46}"/>
              </a:ext>
            </a:extLst>
          </p:cNvPr>
          <p:cNvSpPr txBox="1"/>
          <p:nvPr/>
        </p:nvSpPr>
        <p:spPr>
          <a:xfrm>
            <a:off x="5826753" y="4359090"/>
            <a:ext cx="5935379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accent3"/>
                </a:solidFill>
              </a:rPr>
              <a:t>All work information and product for a request will now be in a single loca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D386F32-4225-425A-BDEF-A23AF5A31668}"/>
              </a:ext>
            </a:extLst>
          </p:cNvPr>
          <p:cNvSpPr/>
          <p:nvPr/>
        </p:nvSpPr>
        <p:spPr>
          <a:xfrm>
            <a:off x="384694" y="4257024"/>
            <a:ext cx="5057779" cy="8097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r>
              <a:rPr lang="en-US" sz="2000" b="1" dirty="0"/>
              <a:t>Single Location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5BB778-23AA-455A-9F7A-05A7A52BC337}"/>
              </a:ext>
            </a:extLst>
          </p:cNvPr>
          <p:cNvSpPr/>
          <p:nvPr/>
        </p:nvSpPr>
        <p:spPr>
          <a:xfrm>
            <a:off x="429867" y="429751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19" name="Flowchart: Merge 18">
            <a:extLst>
              <a:ext uri="{FF2B5EF4-FFF2-40B4-BE49-F238E27FC236}">
                <a16:creationId xmlns:a16="http://schemas.microsoft.com/office/drawing/2014/main" id="{FC347982-7B3E-42DF-BC4E-7D33D9571176}"/>
              </a:ext>
            </a:extLst>
          </p:cNvPr>
          <p:cNvSpPr/>
          <p:nvPr/>
        </p:nvSpPr>
        <p:spPr>
          <a:xfrm rot="5400000" flipV="1">
            <a:off x="5039636" y="4572275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23" name="Flowchart: Merge 22">
            <a:extLst>
              <a:ext uri="{FF2B5EF4-FFF2-40B4-BE49-F238E27FC236}">
                <a16:creationId xmlns:a16="http://schemas.microsoft.com/office/drawing/2014/main" id="{0FBB2815-53D2-4975-B549-2908B8898B8F}"/>
              </a:ext>
            </a:extLst>
          </p:cNvPr>
          <p:cNvSpPr/>
          <p:nvPr/>
        </p:nvSpPr>
        <p:spPr>
          <a:xfrm rot="5400000" flipV="1">
            <a:off x="5039636" y="5474638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89294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FE025FB-4FFF-43C4-B74A-72E2B943AA74}" vid="{A13946E2-50B1-487F-BE47-AE46593BA7DA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CheckIn_x0020_Workflow xmlns="a60e5538-65d5-40b2-995c-731e9579326c">
      <Url xsi:nil="true"/>
      <Description xsi:nil="true"/>
    </CheckIn_x0020_Workflow>
    <lcf76f155ced4ddcb4097134ff3c332f xmlns="a60e5538-65d5-40b2-995c-731e9579326c">
      <Terms xmlns="http://schemas.microsoft.com/office/infopath/2007/PartnerControls"/>
    </lcf76f155ced4ddcb4097134ff3c332f>
    <yeak xmlns="a60e5538-65d5-40b2-995c-731e9579326c" xsi:nil="true"/>
    <TaxCatchAll xmlns="fbbcf6ee-9fbd-400c-b917-9fe3efcb3dea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33" ma:contentTypeDescription="Create a new document." ma:contentTypeScope="" ma:versionID="dec7e21fa23d6ae5e9debae5c7ec6b29">
  <xsd:schema xmlns:xsd="http://www.w3.org/2001/XMLSchema" xmlns:xs="http://www.w3.org/2001/XMLSchema" xmlns:p="http://schemas.microsoft.com/office/2006/metadata/properties" xmlns:ns1="http://schemas.microsoft.com/sharepoint/v3" xmlns:ns2="58efb1c5-837f-45ae-93da-6370a20ee6c7" xmlns:ns3="a60e5538-65d5-40b2-995c-731e9579326c" xmlns:ns4="fbbcf6ee-9fbd-400c-b917-9fe3efcb3dea" targetNamespace="http://schemas.microsoft.com/office/2006/metadata/properties" ma:root="true" ma:fieldsID="d6b07afc582cfd12583675483f0eac61" ns1:_="" ns2:_="" ns3:_="" ns4:_="">
    <xsd:import namespace="http://schemas.microsoft.com/sharepoint/v3"/>
    <xsd:import namespace="58efb1c5-837f-45ae-93da-6370a20ee6c7"/>
    <xsd:import namespace="a60e5538-65d5-40b2-995c-731e9579326c"/>
    <xsd:import namespace="fbbcf6ee-9fbd-400c-b917-9fe3efcb3de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DocTag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9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ocTags" ma:index="31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bcf6ee-9fbd-400c-b917-9fe3efcb3dea" elementFormDefault="qualified">
    <xsd:import namespace="http://schemas.microsoft.com/office/2006/documentManagement/types"/>
    <xsd:import namespace="http://schemas.microsoft.com/office/infopath/2007/PartnerControls"/>
    <xsd:element name="TaxCatchAll" ma:index="30" nillable="true" ma:displayName="Taxonomy Catch All Column" ma:hidden="true" ma:list="{ee3d0cc3-99b5-478e-8db0-6e2a5d0226ab}" ma:internalName="TaxCatchAll" ma:showField="CatchAllData" ma:web="58efb1c5-837f-45ae-93da-6370a20ee6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F6502F-8087-48D7-8FA7-55560A8582F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830D6A-C0D7-4B23-9904-F177CB8E89E3}">
  <ds:schemaRefs>
    <ds:schemaRef ds:uri="http://schemas.microsoft.com/office/2006/metadata/properties"/>
    <ds:schemaRef ds:uri="a60e5538-65d5-40b2-995c-731e9579326c"/>
    <ds:schemaRef ds:uri="fbbcf6ee-9fbd-400c-b917-9fe3efcb3dea"/>
    <ds:schemaRef ds:uri="http://schemas.microsoft.com/sharepoint/v3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58efb1c5-837f-45ae-93da-6370a20ee6c7"/>
  </ds:schemaRefs>
</ds:datastoreItem>
</file>

<file path=customXml/itemProps3.xml><?xml version="1.0" encoding="utf-8"?>
<ds:datastoreItem xmlns:ds="http://schemas.openxmlformats.org/officeDocument/2006/customXml" ds:itemID="{6D5202DC-A46E-4BA8-8A4D-D2232B2168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8efb1c5-837f-45ae-93da-6370a20ee6c7"/>
    <ds:schemaRef ds:uri="a60e5538-65d5-40b2-995c-731e9579326c"/>
    <ds:schemaRef ds:uri="fbbcf6ee-9fbd-400c-b917-9fe3efcb3d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QVIA 2023</Template>
  <TotalTime>7</TotalTime>
  <Words>702</Words>
  <Application>Microsoft Office PowerPoint</Application>
  <PresentationFormat>Widescreen</PresentationFormat>
  <Paragraphs>126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Georgia</vt:lpstr>
      <vt:lpstr>System Font Regular</vt:lpstr>
      <vt:lpstr>Wingdings</vt:lpstr>
      <vt:lpstr>IQVIA_V2.1.0</vt:lpstr>
      <vt:lpstr>think-cell Slide</vt:lpstr>
      <vt:lpstr>Marketing Operations</vt:lpstr>
      <vt:lpstr>Agenda</vt:lpstr>
      <vt:lpstr>Marketing Operations Open Office Hours </vt:lpstr>
      <vt:lpstr>Strategy – Mktg Ops Toolbox Redesign</vt:lpstr>
      <vt:lpstr>Operational Plan – Mktg Ops Toolbox Redesign</vt:lpstr>
      <vt:lpstr>Toolbox Site Redesign Process</vt:lpstr>
      <vt:lpstr>Mktg Ops Toolbox – Old to New</vt:lpstr>
      <vt:lpstr>Marketer Dashboard</vt:lpstr>
      <vt:lpstr>Marketer Dashboard introduced</vt:lpstr>
      <vt:lpstr>Marketer Dashboard</vt:lpstr>
      <vt:lpstr>Marketer Dashboard introduced</vt:lpstr>
      <vt:lpstr>Reminders and Next Step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Operations</dc:title>
  <dc:creator>Cuff, Phil</dc:creator>
  <cp:lastModifiedBy>Cuff, Phil</cp:lastModifiedBy>
  <cp:revision>2</cp:revision>
  <cp:lastPrinted>2019-08-20T20:33:24Z</cp:lastPrinted>
  <dcterms:created xsi:type="dcterms:W3CDTF">2023-01-12T09:14:58Z</dcterms:created>
  <dcterms:modified xsi:type="dcterms:W3CDTF">2023-11-06T11:1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  <property fmtid="{D5CDD505-2E9C-101B-9397-08002B2CF9AE}" pid="3" name="MediaServiceImageTags">
    <vt:lpwstr/>
  </property>
</Properties>
</file>